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1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2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3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4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Override5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6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7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Override8.xml" ContentType="application/vnd.openxmlformats-officedocument.themeOverr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Override9.xml" ContentType="application/vnd.openxmlformats-officedocument.themeOverr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Override10.xml" ContentType="application/vnd.openxmlformats-officedocument.themeOverr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Override11.xml" ContentType="application/vnd.openxmlformats-officedocument.themeOverr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Override12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Override13.xml" ContentType="application/vnd.openxmlformats-officedocument.themeOverr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Override14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Override15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16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Override17.xml" ContentType="application/vnd.openxmlformats-officedocument.themeOverr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Override18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Override19.xml" ContentType="application/vnd.openxmlformats-officedocument.themeOverr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heme/themeOverride20.xml" ContentType="application/vnd.openxmlformats-officedocument.themeOverr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Override21.xml" ContentType="application/vnd.openxmlformats-officedocument.themeOverr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heme/themeOverride22.xml" ContentType="application/vnd.openxmlformats-officedocument.themeOverr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23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heme/themeOverride24.xml" ContentType="application/vnd.openxmlformats-officedocument.themeOverr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heme/themeOverride25.xml" ContentType="application/vnd.openxmlformats-officedocument.themeOverr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heme/themeOverride26.xml" ContentType="application/vnd.openxmlformats-officedocument.themeOverr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heme/themeOverride27.xml" ContentType="application/vnd.openxmlformats-officedocument.themeOverride+xml"/>
  <Override PartName="/ppt/tags/tag153.xml" ContentType="application/vnd.openxmlformats-officedocument.presentationml.tags+xml"/>
  <Override PartName="/ppt/theme/themeOverride28.xml" ContentType="application/vnd.openxmlformats-officedocument.themeOverride+xml"/>
  <Override PartName="/ppt/tags/tag154.xml" ContentType="application/vnd.openxmlformats-officedocument.presentationml.tags+xml"/>
  <Override PartName="/ppt/theme/themeOverride29.xml" ContentType="application/vnd.openxmlformats-officedocument.themeOverr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heme/themeOverride30.xml" ContentType="application/vnd.openxmlformats-officedocument.themeOverr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heme/themeOverride31.xml" ContentType="application/vnd.openxmlformats-officedocument.themeOverr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Override32.xml" ContentType="application/vnd.openxmlformats-officedocument.themeOverr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heme/themeOverride33.xml" ContentType="application/vnd.openxmlformats-officedocument.themeOverr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heme/themeOverride34.xml" ContentType="application/vnd.openxmlformats-officedocument.themeOverr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Override35.xml" ContentType="application/vnd.openxmlformats-officedocument.themeOverr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heme/themeOverride36.xml" ContentType="application/vnd.openxmlformats-officedocument.themeOverr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Override37.xml" ContentType="application/vnd.openxmlformats-officedocument.themeOverr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heme/themeOverride38.xml" ContentType="application/vnd.openxmlformats-officedocument.themeOverr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heme/themeOverride39.xml" ContentType="application/vnd.openxmlformats-officedocument.themeOverr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heme/themeOverride40.xml" ContentType="application/vnd.openxmlformats-officedocument.themeOverr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heme/themeOverride41.xml" ContentType="application/vnd.openxmlformats-officedocument.themeOverr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heme/themeOverride42.xml" ContentType="application/vnd.openxmlformats-officedocument.themeOverr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heme/themeOverride43.xml" ContentType="application/vnd.openxmlformats-officedocument.themeOverr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heme/themeOverride44.xml" ContentType="application/vnd.openxmlformats-officedocument.themeOverrid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Override45.xml" ContentType="application/vnd.openxmlformats-officedocument.themeOverrid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heme/themeOverride46.xml" ContentType="application/vnd.openxmlformats-officedocument.themeOverrid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heme/themeOverride47.xml" ContentType="application/vnd.openxmlformats-officedocument.themeOverrid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heme/themeOverride48.xml" ContentType="application/vnd.openxmlformats-officedocument.themeOverrid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heme/themeOverride49.xml" ContentType="application/vnd.openxmlformats-officedocument.themeOverride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heme/themeOverride50.xml" ContentType="application/vnd.openxmlformats-officedocument.themeOverride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heme/themeOverride51.xml" ContentType="application/vnd.openxmlformats-officedocument.themeOverr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heme/themeOverride52.xml" ContentType="application/vnd.openxmlformats-officedocument.themeOverrid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heme/themeOverride53.xml" ContentType="application/vnd.openxmlformats-officedocument.themeOverr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heme/themeOverride54.xml" ContentType="application/vnd.openxmlformats-officedocument.themeOverride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heme/themeOverride55.xml" ContentType="application/vnd.openxmlformats-officedocument.themeOverride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heme/themeOverride56.xml" ContentType="application/vnd.openxmlformats-officedocument.themeOverr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heme/themeOverride57.xml" ContentType="application/vnd.openxmlformats-officedocument.themeOverrid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heme/themeOverride58.xml" ContentType="application/vnd.openxmlformats-officedocument.themeOverride+xml"/>
  <Override PartName="/ppt/tags/tag318.xml" ContentType="application/vnd.openxmlformats-officedocument.presentationml.tags+xml"/>
  <Override PartName="/ppt/theme/themeOverride59.xml" ContentType="application/vnd.openxmlformats-officedocument.themeOverride+xml"/>
  <Override PartName="/ppt/tags/tag319.xml" ContentType="application/vnd.openxmlformats-officedocument.presentationml.tags+xml"/>
  <Override PartName="/ppt/theme/themeOverride60.xml" ContentType="application/vnd.openxmlformats-officedocument.themeOverride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heme/themeOverride61.xml" ContentType="application/vnd.openxmlformats-officedocument.themeOverride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heme/themeOverride62.xml" ContentType="application/vnd.openxmlformats-officedocument.themeOverride+xml"/>
  <Override PartName="/ppt/tags/tag328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3.xml" ContentType="application/vnd.openxmlformats-officedocument.theme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heme/themeOverride63.xml" ContentType="application/vnd.openxmlformats-officedocument.themeOverride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heme/themeOverride64.xml" ContentType="application/vnd.openxmlformats-officedocument.themeOverrid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heme/themeOverride65.xml" ContentType="application/vnd.openxmlformats-officedocument.themeOverride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heme/themeOverride66.xml" ContentType="application/vnd.openxmlformats-officedocument.themeOverrid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heme/themeOverride67.xml" ContentType="application/vnd.openxmlformats-officedocument.themeOverride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heme/themeOverride68.xml" ContentType="application/vnd.openxmlformats-officedocument.themeOverride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heme/themeOverride69.xml" ContentType="application/vnd.openxmlformats-officedocument.themeOverride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heme/themeOverride70.xml" ContentType="application/vnd.openxmlformats-officedocument.themeOverrid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heme/themeOverride71.xml" ContentType="application/vnd.openxmlformats-officedocument.themeOverride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heme/themeOverride72.xml" ContentType="application/vnd.openxmlformats-officedocument.themeOverride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heme/themeOverride73.xml" ContentType="application/vnd.openxmlformats-officedocument.themeOverride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heme/themeOverride74.xml" ContentType="application/vnd.openxmlformats-officedocument.themeOverride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heme/themeOverride75.xml" ContentType="application/vnd.openxmlformats-officedocument.themeOverride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heme/themeOverride76.xml" ContentType="application/vnd.openxmlformats-officedocument.themeOverride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heme/themeOverride77.xml" ContentType="application/vnd.openxmlformats-officedocument.themeOverride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heme/themeOverride78.xml" ContentType="application/vnd.openxmlformats-officedocument.themeOverride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heme/themeOverride79.xml" ContentType="application/vnd.openxmlformats-officedocument.themeOverride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heme/themeOverride80.xml" ContentType="application/vnd.openxmlformats-officedocument.themeOverride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heme/themeOverride81.xml" ContentType="application/vnd.openxmlformats-officedocument.themeOverride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heme/themeOverride82.xml" ContentType="application/vnd.openxmlformats-officedocument.themeOverride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heme/themeOverride83.xml" ContentType="application/vnd.openxmlformats-officedocument.themeOverrid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heme/themeOverride84.xml" ContentType="application/vnd.openxmlformats-officedocument.themeOverride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heme/themeOverride85.xml" ContentType="application/vnd.openxmlformats-officedocument.themeOverride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heme/themeOverride86.xml" ContentType="application/vnd.openxmlformats-officedocument.themeOverride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heme/themeOverride87.xml" ContentType="application/vnd.openxmlformats-officedocument.themeOverride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heme/themeOverride88.xml" ContentType="application/vnd.openxmlformats-officedocument.themeOverride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heme/themeOverride89.xml" ContentType="application/vnd.openxmlformats-officedocument.themeOverride+xml"/>
  <Override PartName="/ppt/tags/tag477.xml" ContentType="application/vnd.openxmlformats-officedocument.presentationml.tags+xml"/>
  <Override PartName="/ppt/theme/themeOverride90.xml" ContentType="application/vnd.openxmlformats-officedocument.themeOverride+xml"/>
  <Override PartName="/ppt/tags/tag478.xml" ContentType="application/vnd.openxmlformats-officedocument.presentationml.tags+xml"/>
  <Override PartName="/ppt/theme/themeOverride91.xml" ContentType="application/vnd.openxmlformats-officedocument.themeOverride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heme/themeOverride92.xml" ContentType="application/vnd.openxmlformats-officedocument.themeOverride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heme/themeOverride93.xml" ContentType="application/vnd.openxmlformats-officedocument.themeOverride+xml"/>
  <Override PartName="/ppt/tags/tag487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4.xml" ContentType="application/vnd.openxmlformats-officedocument.theme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theme/theme5.xml" ContentType="application/vnd.openxmlformats-officedocument.theme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heme/themeOverride94.xml" ContentType="application/vnd.openxmlformats-officedocument.themeOverride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heme/themeOverride95.xml" ContentType="application/vnd.openxmlformats-officedocument.themeOverride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heme/themeOverride96.xml" ContentType="application/vnd.openxmlformats-officedocument.themeOverride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heme/themeOverride97.xml" ContentType="application/vnd.openxmlformats-officedocument.themeOverride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heme/themeOverride98.xml" ContentType="application/vnd.openxmlformats-officedocument.themeOverride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heme/themeOverride99.xml" ContentType="application/vnd.openxmlformats-officedocument.themeOverride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heme/themeOverride100.xml" ContentType="application/vnd.openxmlformats-officedocument.themeOverride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heme/themeOverride101.xml" ContentType="application/vnd.openxmlformats-officedocument.themeOverride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heme/themeOverride102.xml" ContentType="application/vnd.openxmlformats-officedocument.themeOverride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heme/themeOverride103.xml" ContentType="application/vnd.openxmlformats-officedocument.themeOverride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heme/themeOverride104.xml" ContentType="application/vnd.openxmlformats-officedocument.themeOverride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heme/themeOverride105.xml" ContentType="application/vnd.openxmlformats-officedocument.themeOverride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heme/themeOverride106.xml" ContentType="application/vnd.openxmlformats-officedocument.themeOverride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heme/themeOverride107.xml" ContentType="application/vnd.openxmlformats-officedocument.themeOverride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heme/themeOverride108.xml" ContentType="application/vnd.openxmlformats-officedocument.themeOverride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heme/themeOverride109.xml" ContentType="application/vnd.openxmlformats-officedocument.themeOverride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heme/themeOverride110.xml" ContentType="application/vnd.openxmlformats-officedocument.themeOverride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heme/themeOverride111.xml" ContentType="application/vnd.openxmlformats-officedocument.themeOverride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heme/themeOverride112.xml" ContentType="application/vnd.openxmlformats-officedocument.themeOverride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heme/themeOverride113.xml" ContentType="application/vnd.openxmlformats-officedocument.themeOverride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heme/themeOverride114.xml" ContentType="application/vnd.openxmlformats-officedocument.themeOverride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heme/themeOverride115.xml" ContentType="application/vnd.openxmlformats-officedocument.themeOverride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heme/themeOverride116.xml" ContentType="application/vnd.openxmlformats-officedocument.themeOverride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heme/themeOverride117.xml" ContentType="application/vnd.openxmlformats-officedocument.themeOverride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heme/themeOverride118.xml" ContentType="application/vnd.openxmlformats-officedocument.themeOverride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heme/themeOverride119.xml" ContentType="application/vnd.openxmlformats-officedocument.themeOverride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heme/themeOverride120.xml" ContentType="application/vnd.openxmlformats-officedocument.themeOverride+xml"/>
  <Override PartName="/ppt/tags/tag677.xml" ContentType="application/vnd.openxmlformats-officedocument.presentationml.tags+xml"/>
  <Override PartName="/ppt/theme/themeOverride121.xml" ContentType="application/vnd.openxmlformats-officedocument.themeOverride+xml"/>
  <Override PartName="/ppt/tags/tag678.xml" ContentType="application/vnd.openxmlformats-officedocument.presentationml.tags+xml"/>
  <Override PartName="/ppt/theme/themeOverride122.xml" ContentType="application/vnd.openxmlformats-officedocument.themeOverride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heme/themeOverride123.xml" ContentType="application/vnd.openxmlformats-officedocument.themeOverride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heme/themeOverride124.xml" ContentType="application/vnd.openxmlformats-officedocument.themeOverride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heme/theme6.xml" ContentType="application/vnd.openxmlformats-officedocument.theme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notesSlides/notesSlide1.xml" ContentType="application/vnd.openxmlformats-officedocument.presentationml.notesSlide+xml"/>
  <Override PartName="/ppt/tags/tag693.xml" ContentType="application/vnd.openxmlformats-officedocument.presentationml.tags+xml"/>
  <Override PartName="/ppt/notesSlides/notesSlide2.xml" ContentType="application/vnd.openxmlformats-officedocument.presentationml.notesSlide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734" r:id="rId2"/>
    <p:sldMasterId id="2147483800" r:id="rId3"/>
    <p:sldMasterId id="2147483863" r:id="rId4"/>
    <p:sldMasterId id="2147483928" r:id="rId5"/>
  </p:sldMasterIdLst>
  <p:notesMasterIdLst>
    <p:notesMasterId r:id="rId22"/>
  </p:notesMasterIdLst>
  <p:sldIdLst>
    <p:sldId id="276" r:id="rId6"/>
    <p:sldId id="548" r:id="rId7"/>
    <p:sldId id="542" r:id="rId8"/>
    <p:sldId id="552" r:id="rId9"/>
    <p:sldId id="550" r:id="rId10"/>
    <p:sldId id="258" r:id="rId11"/>
    <p:sldId id="443" r:id="rId12"/>
    <p:sldId id="555" r:id="rId13"/>
    <p:sldId id="458" r:id="rId14"/>
    <p:sldId id="452" r:id="rId15"/>
    <p:sldId id="455" r:id="rId16"/>
    <p:sldId id="457" r:id="rId17"/>
    <p:sldId id="551" r:id="rId18"/>
    <p:sldId id="543" r:id="rId19"/>
    <p:sldId id="447" r:id="rId20"/>
    <p:sldId id="537" r:id="rId21"/>
  </p:sldIdLst>
  <p:sldSz cx="11912600" cy="6718300"/>
  <p:notesSz cx="6797675" cy="9926638"/>
  <p:custDataLst>
    <p:tags r:id="rId23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PT Sans Caption"/>
        <a:ea typeface="PT Sans Caption"/>
        <a:cs typeface="PT Sans Caption"/>
        <a:sym typeface="PT Sans Caption"/>
      </a:defRPr>
    </a:lvl1pPr>
    <a:lvl2pPr marL="0" marR="0" indent="596783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PT Sans Caption"/>
        <a:ea typeface="PT Sans Caption"/>
        <a:cs typeface="PT Sans Caption"/>
        <a:sym typeface="PT Sans Caption"/>
      </a:defRPr>
    </a:lvl2pPr>
    <a:lvl3pPr marL="0" marR="0" indent="1193566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PT Sans Caption"/>
        <a:ea typeface="PT Sans Caption"/>
        <a:cs typeface="PT Sans Caption"/>
        <a:sym typeface="PT Sans Caption"/>
      </a:defRPr>
    </a:lvl3pPr>
    <a:lvl4pPr marL="0" marR="0" indent="1790349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PT Sans Caption"/>
        <a:ea typeface="PT Sans Caption"/>
        <a:cs typeface="PT Sans Caption"/>
        <a:sym typeface="PT Sans Caption"/>
      </a:defRPr>
    </a:lvl4pPr>
    <a:lvl5pPr marL="0" marR="0" indent="2387132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PT Sans Caption"/>
        <a:ea typeface="PT Sans Caption"/>
        <a:cs typeface="PT Sans Caption"/>
        <a:sym typeface="PT Sans Caption"/>
      </a:defRPr>
    </a:lvl5pPr>
    <a:lvl6pPr marL="0" marR="0" indent="2983915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PT Sans Caption"/>
        <a:ea typeface="PT Sans Caption"/>
        <a:cs typeface="PT Sans Caption"/>
        <a:sym typeface="PT Sans Caption"/>
      </a:defRPr>
    </a:lvl6pPr>
    <a:lvl7pPr marL="0" marR="0" indent="3580698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PT Sans Caption"/>
        <a:ea typeface="PT Sans Caption"/>
        <a:cs typeface="PT Sans Caption"/>
        <a:sym typeface="PT Sans Caption"/>
      </a:defRPr>
    </a:lvl7pPr>
    <a:lvl8pPr marL="0" marR="0" indent="4177481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PT Sans Caption"/>
        <a:ea typeface="PT Sans Caption"/>
        <a:cs typeface="PT Sans Caption"/>
        <a:sym typeface="PT Sans Caption"/>
      </a:defRPr>
    </a:lvl8pPr>
    <a:lvl9pPr marL="0" marR="0" indent="4774265" algn="l" defTabSz="11935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3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PT Sans Caption"/>
        <a:ea typeface="PT Sans Caption"/>
        <a:cs typeface="PT Sans Caption"/>
        <a:sym typeface="PT Sans Caption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арвара Михайлова" initials="ВМ" lastIdx="2" clrIdx="0">
    <p:extLst>
      <p:ext uri="{19B8F6BF-5375-455C-9EA6-DF929625EA0E}">
        <p15:presenceInfo xmlns:p15="http://schemas.microsoft.com/office/powerpoint/2012/main" userId="Варвара Михайлов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B2E"/>
    <a:srgbClr val="05AD45"/>
    <a:srgbClr val="7083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>
          <a:latin typeface="PT Sans Caption"/>
          <a:ea typeface="PT Sans Caption"/>
          <a:cs typeface="PT Sans Caption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88" autoAdjust="0"/>
    <p:restoredTop sz="94660"/>
  </p:normalViewPr>
  <p:slideViewPr>
    <p:cSldViewPr snapToGrid="0">
      <p:cViewPr varScale="1">
        <p:scale>
          <a:sx n="68" d="100"/>
          <a:sy n="68" d="100"/>
        </p:scale>
        <p:origin x="652" y="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2290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CA4D3E-065F-41DB-ACC4-EC6689F0F38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CF9CBA8-1381-4C0E-AF07-0B4DF8EF337B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Способ 1: </a:t>
          </a:r>
          <a:r>
            <a:rPr lang="en-US" sz="2300" b="1" dirty="0">
              <a:solidFill>
                <a:srgbClr val="58595B"/>
              </a:solidFill>
            </a:rPr>
            <a:t>1.1. </a:t>
          </a:r>
          <a:r>
            <a:rPr lang="ru-RU" sz="2300" b="1" dirty="0">
              <a:solidFill>
                <a:srgbClr val="58595B"/>
              </a:solidFill>
            </a:rPr>
            <a:t>через ЛК МДЛП или </a:t>
          </a:r>
          <a:r>
            <a:rPr lang="en-US" sz="2300" b="1" dirty="0">
              <a:solidFill>
                <a:srgbClr val="58595B"/>
              </a:solidFill>
            </a:rPr>
            <a:t>1.2. </a:t>
          </a:r>
          <a:r>
            <a:rPr lang="ru-RU" sz="2300" b="1" dirty="0">
              <a:solidFill>
                <a:srgbClr val="58595B"/>
              </a:solidFill>
            </a:rPr>
            <a:t>через </a:t>
          </a:r>
          <a:r>
            <a:rPr lang="en-US" sz="2300" b="1" dirty="0">
              <a:solidFill>
                <a:srgbClr val="58595B"/>
              </a:solidFill>
            </a:rPr>
            <a:t>API </a:t>
          </a:r>
          <a:r>
            <a:rPr lang="ru-RU" sz="2300" b="1" dirty="0">
              <a:solidFill>
                <a:srgbClr val="58595B"/>
              </a:solidFill>
            </a:rPr>
            <a:t>МДЛП</a:t>
          </a:r>
        </a:p>
      </dgm:t>
    </dgm:pt>
    <dgm:pt modelId="{D393C8B6-6AF2-449F-A2DB-6C12C1148B0F}" type="parTrans" cxnId="{78BCC36D-D84B-43A5-86C5-98F2241E78C4}">
      <dgm:prSet/>
      <dgm:spPr/>
      <dgm:t>
        <a:bodyPr/>
        <a:lstStyle/>
        <a:p>
          <a:endParaRPr lang="ru-RU"/>
        </a:p>
      </dgm:t>
    </dgm:pt>
    <dgm:pt modelId="{CDC80C5D-2EAD-489B-8050-E8A688C87BB7}" type="sibTrans" cxnId="{78BCC36D-D84B-43A5-86C5-98F2241E78C4}">
      <dgm:prSet/>
      <dgm:spPr/>
      <dgm:t>
        <a:bodyPr/>
        <a:lstStyle/>
        <a:p>
          <a:endParaRPr lang="ru-RU"/>
        </a:p>
      </dgm:t>
    </dgm:pt>
    <dgm:pt modelId="{56238B81-8B1F-4D3E-A2A1-8034509903C4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Способ 2:</a:t>
          </a:r>
          <a:r>
            <a:rPr lang="en-US" sz="2300" b="1" dirty="0">
              <a:solidFill>
                <a:srgbClr val="58595B"/>
              </a:solidFill>
            </a:rPr>
            <a:t> 2.1. </a:t>
          </a:r>
          <a:r>
            <a:rPr lang="ru-RU" sz="2300" b="1" dirty="0">
              <a:solidFill>
                <a:srgbClr val="58595B"/>
              </a:solidFill>
            </a:rPr>
            <a:t>через ККТ или </a:t>
          </a:r>
          <a:r>
            <a:rPr lang="en-US" sz="2300" b="1" dirty="0">
              <a:solidFill>
                <a:srgbClr val="58595B"/>
              </a:solidFill>
            </a:rPr>
            <a:t>2.2. </a:t>
          </a:r>
          <a:r>
            <a:rPr lang="ru-RU" sz="2300" b="1" dirty="0">
              <a:solidFill>
                <a:srgbClr val="58595B"/>
              </a:solidFill>
            </a:rPr>
            <a:t>через регистраторы выбытия (РВ)</a:t>
          </a:r>
        </a:p>
      </dgm:t>
    </dgm:pt>
    <dgm:pt modelId="{F0F8E807-045E-4152-A976-27976E9FE714}" type="parTrans" cxnId="{E2AB928C-7E89-4D62-8E91-B17929C7B3BD}">
      <dgm:prSet/>
      <dgm:spPr/>
      <dgm:t>
        <a:bodyPr/>
        <a:lstStyle/>
        <a:p>
          <a:endParaRPr lang="ru-RU"/>
        </a:p>
      </dgm:t>
    </dgm:pt>
    <dgm:pt modelId="{CCE429A5-D02E-421C-9B78-200F5656C1FA}" type="sibTrans" cxnId="{E2AB928C-7E89-4D62-8E91-B17929C7B3BD}">
      <dgm:prSet/>
      <dgm:spPr/>
      <dgm:t>
        <a:bodyPr/>
        <a:lstStyle/>
        <a:p>
          <a:endParaRPr lang="ru-RU"/>
        </a:p>
      </dgm:t>
    </dgm:pt>
    <dgm:pt modelId="{DCC45AC4-F94A-4B93-A051-A4E9641DB302}">
      <dgm:prSet phldrT="[Текст]" custT="1"/>
      <dgm:spPr/>
      <dgm:t>
        <a:bodyPr/>
        <a:lstStyle/>
        <a:p>
          <a:pPr>
            <a:spcAft>
              <a:spcPts val="1200"/>
            </a:spcAft>
          </a:pPr>
          <a:r>
            <a:rPr lang="ru-RU" sz="1800" b="0" u="none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1. Продажа лекарственного препарата в рамках розничной торговли</a:t>
          </a:r>
          <a:endParaRPr lang="ru-RU" sz="1800" dirty="0"/>
        </a:p>
      </dgm:t>
    </dgm:pt>
    <dgm:pt modelId="{BDF3F2EB-8914-481B-9C48-A6199B921654}" type="parTrans" cxnId="{F4DDCCD6-9CAC-4578-905D-27D7AE81AB9E}">
      <dgm:prSet/>
      <dgm:spPr/>
      <dgm:t>
        <a:bodyPr/>
        <a:lstStyle/>
        <a:p>
          <a:endParaRPr lang="ru-RU"/>
        </a:p>
      </dgm:t>
    </dgm:pt>
    <dgm:pt modelId="{8413818C-B229-49C4-82C0-2B246FA273FF}" type="sibTrans" cxnId="{F4DDCCD6-9CAC-4578-905D-27D7AE81AB9E}">
      <dgm:prSet/>
      <dgm:spPr/>
      <dgm:t>
        <a:bodyPr/>
        <a:lstStyle/>
        <a:p>
          <a:endParaRPr lang="ru-RU"/>
        </a:p>
      </dgm:t>
    </dgm:pt>
    <dgm:pt modelId="{7ABB629B-B4B9-4F84-B05A-B8612DA0DBA4}">
      <dgm:prSet phldrT="[Текст]"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4. Раздел «Оборот лекарственных препаратов». </a:t>
          </a:r>
        </a:p>
      </dgm:t>
    </dgm:pt>
    <dgm:pt modelId="{FCE36C86-43E3-4C85-A06D-ACE09FA014E8}" type="parTrans" cxnId="{E6E4F691-9490-4841-AEA2-18AC6A145368}">
      <dgm:prSet/>
      <dgm:spPr/>
      <dgm:t>
        <a:bodyPr/>
        <a:lstStyle/>
        <a:p>
          <a:endParaRPr lang="ru-RU"/>
        </a:p>
      </dgm:t>
    </dgm:pt>
    <dgm:pt modelId="{44682DE8-44B4-480E-BBBD-45110AF659D7}" type="sibTrans" cxnId="{E6E4F691-9490-4841-AEA2-18AC6A145368}">
      <dgm:prSet/>
      <dgm:spPr/>
      <dgm:t>
        <a:bodyPr/>
        <a:lstStyle/>
        <a:p>
          <a:endParaRPr lang="ru-RU"/>
        </a:p>
      </dgm:t>
    </dgm:pt>
    <dgm:pt modelId="{4E76746F-A977-4FF3-93AF-2F32CFEC7346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9.2. Расформирование (уничтожение) третичной упаковки лекарственных препаратов</a:t>
          </a:r>
        </a:p>
      </dgm:t>
    </dgm:pt>
    <dgm:pt modelId="{31A99A7C-5E65-4D31-9B79-79713823C62B}" type="parTrans" cxnId="{30BE6E15-1290-4E13-B98B-C73B6FD27281}">
      <dgm:prSet/>
      <dgm:spPr/>
      <dgm:t>
        <a:bodyPr/>
        <a:lstStyle/>
        <a:p>
          <a:endParaRPr lang="ru-RU"/>
        </a:p>
      </dgm:t>
    </dgm:pt>
    <dgm:pt modelId="{98CC5001-8917-4D50-BB4B-53C7321B7344}" type="sibTrans" cxnId="{30BE6E15-1290-4E13-B98B-C73B6FD27281}">
      <dgm:prSet/>
      <dgm:spPr/>
      <dgm:t>
        <a:bodyPr/>
        <a:lstStyle/>
        <a:p>
          <a:endParaRPr lang="ru-RU"/>
        </a:p>
      </dgm:t>
    </dgm:pt>
    <dgm:pt modelId="{992D9A75-F29C-44A6-B693-7778A2CB40A8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10. Отмена зарегистрированных операций, отзыв лекарственных препаратов и отказ в приемке лекарственных препаратов</a:t>
          </a:r>
        </a:p>
      </dgm:t>
    </dgm:pt>
    <dgm:pt modelId="{87794D2F-982E-469A-AA4D-D415CFC5088A}" type="parTrans" cxnId="{FF03B092-B08B-4BE7-92F6-F84AD5CAA692}">
      <dgm:prSet/>
      <dgm:spPr/>
      <dgm:t>
        <a:bodyPr/>
        <a:lstStyle/>
        <a:p>
          <a:endParaRPr lang="ru-RU"/>
        </a:p>
      </dgm:t>
    </dgm:pt>
    <dgm:pt modelId="{7902042F-91BC-438E-9E34-E08BE6F752C3}" type="sibTrans" cxnId="{FF03B092-B08B-4BE7-92F6-F84AD5CAA692}">
      <dgm:prSet/>
      <dgm:spPr/>
      <dgm:t>
        <a:bodyPr/>
        <a:lstStyle/>
        <a:p>
          <a:endParaRPr lang="ru-RU"/>
        </a:p>
      </dgm:t>
    </dgm:pt>
    <dgm:pt modelId="{03F98ACD-717A-4A82-BE88-9793365D848A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Другие разделы, в зависимости от особенностей конкретной организации.</a:t>
          </a:r>
        </a:p>
      </dgm:t>
    </dgm:pt>
    <dgm:pt modelId="{488AA22D-2CF1-4F06-86D0-B9C92C464417}" type="parTrans" cxnId="{91E6F0F5-F028-44CD-A8CA-47E426D12129}">
      <dgm:prSet/>
      <dgm:spPr/>
      <dgm:t>
        <a:bodyPr/>
        <a:lstStyle/>
        <a:p>
          <a:endParaRPr lang="ru-RU"/>
        </a:p>
      </dgm:t>
    </dgm:pt>
    <dgm:pt modelId="{A6646CF8-731D-403A-A380-4A6093D4044B}" type="sibTrans" cxnId="{91E6F0F5-F028-44CD-A8CA-47E426D12129}">
      <dgm:prSet/>
      <dgm:spPr/>
      <dgm:t>
        <a:bodyPr/>
        <a:lstStyle/>
        <a:p>
          <a:endParaRPr lang="ru-RU"/>
        </a:p>
      </dgm:t>
    </dgm:pt>
    <dgm:pt modelId="{A2B297D3-1CD7-487C-B8C6-27D4B6F08601}">
      <dgm:prSet phldrT="[Текст]"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4. Передача на уничтожение и уничтожение лекарственных препаратов</a:t>
          </a:r>
        </a:p>
      </dgm:t>
    </dgm:pt>
    <dgm:pt modelId="{A5081663-B7DD-4718-8EA3-F8B50A2FEC69}" type="parTrans" cxnId="{EB93BD4E-6E48-463A-BF4B-C62BC087A0D6}">
      <dgm:prSet/>
      <dgm:spPr/>
      <dgm:t>
        <a:bodyPr/>
        <a:lstStyle/>
        <a:p>
          <a:endParaRPr lang="ru-RU"/>
        </a:p>
      </dgm:t>
    </dgm:pt>
    <dgm:pt modelId="{AB91480D-E36C-4D3C-9A5F-C961308F77A3}" type="sibTrans" cxnId="{EB93BD4E-6E48-463A-BF4B-C62BC087A0D6}">
      <dgm:prSet/>
      <dgm:spPr/>
      <dgm:t>
        <a:bodyPr/>
        <a:lstStyle/>
        <a:p>
          <a:endParaRPr lang="ru-RU"/>
        </a:p>
      </dgm:t>
    </dgm:pt>
    <dgm:pt modelId="{F8FBED0E-F100-45A2-BF9F-57E307DAAB3F}">
      <dgm:prSet phldrT="[Текст]"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5. Вывод лекарственного препарата из оборота по различным причинам </a:t>
          </a:r>
        </a:p>
      </dgm:t>
    </dgm:pt>
    <dgm:pt modelId="{7B2100F2-12C1-45CF-87EC-9A9B4B809AFD}" type="parTrans" cxnId="{F8C83DC4-6651-4D3C-B929-9B03C9FF5A7F}">
      <dgm:prSet/>
      <dgm:spPr/>
      <dgm:t>
        <a:bodyPr/>
        <a:lstStyle/>
        <a:p>
          <a:endParaRPr lang="ru-RU"/>
        </a:p>
      </dgm:t>
    </dgm:pt>
    <dgm:pt modelId="{96D13E69-FBFF-49D5-9C07-C0BA4F4AD1E3}" type="sibTrans" cxnId="{F8C83DC4-6651-4D3C-B929-9B03C9FF5A7F}">
      <dgm:prSet/>
      <dgm:spPr/>
      <dgm:t>
        <a:bodyPr/>
        <a:lstStyle/>
        <a:p>
          <a:endParaRPr lang="ru-RU"/>
        </a:p>
      </dgm:t>
    </dgm:pt>
    <dgm:pt modelId="{FEEA498B-D6C4-4E33-8D8F-5ED68CDD449D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7. Раздел «Временный вывод из обращения»</a:t>
          </a:r>
        </a:p>
      </dgm:t>
    </dgm:pt>
    <dgm:pt modelId="{23ED7838-71FD-4880-BBFC-B7A59585BE5D}" type="parTrans" cxnId="{9A119AE6-3B77-4AD9-BC52-6F41428CA5F4}">
      <dgm:prSet/>
      <dgm:spPr/>
      <dgm:t>
        <a:bodyPr/>
        <a:lstStyle/>
        <a:p>
          <a:endParaRPr lang="ru-RU"/>
        </a:p>
      </dgm:t>
    </dgm:pt>
    <dgm:pt modelId="{9F21B91D-7ACC-49CB-B47E-E9797FF0BC2A}" type="sibTrans" cxnId="{9A119AE6-3B77-4AD9-BC52-6F41428CA5F4}">
      <dgm:prSet/>
      <dgm:spPr/>
      <dgm:t>
        <a:bodyPr/>
        <a:lstStyle/>
        <a:p>
          <a:endParaRPr lang="ru-RU"/>
        </a:p>
      </dgm:t>
    </dgm:pt>
    <dgm:pt modelId="{A5879651-F114-4D99-8933-B94BF39CB469}">
      <dgm:prSet custT="1"/>
      <dgm:spPr/>
      <dgm:t>
        <a:bodyPr/>
        <a:lstStyle/>
        <a:p>
          <a:pPr>
            <a:spcAft>
              <a:spcPts val="1200"/>
            </a:spcAft>
          </a:pPr>
          <a:r>
            <a:rPr lang="ru-RU" sz="1800" b="0" u="none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2. Отпуск лекарственных препаратов по льготному рецепту</a:t>
          </a:r>
        </a:p>
      </dgm:t>
    </dgm:pt>
    <dgm:pt modelId="{F3541B76-55E6-474B-AD06-639737108414}" type="parTrans" cxnId="{F2A0E426-349C-4DD9-8C9E-37B7428F808D}">
      <dgm:prSet/>
      <dgm:spPr/>
      <dgm:t>
        <a:bodyPr/>
        <a:lstStyle/>
        <a:p>
          <a:endParaRPr lang="ru-RU"/>
        </a:p>
      </dgm:t>
    </dgm:pt>
    <dgm:pt modelId="{5B50781E-335E-43D6-B91E-F8EFC7694135}" type="sibTrans" cxnId="{F2A0E426-349C-4DD9-8C9E-37B7428F808D}">
      <dgm:prSet/>
      <dgm:spPr/>
      <dgm:t>
        <a:bodyPr/>
        <a:lstStyle/>
        <a:p>
          <a:endParaRPr lang="ru-RU"/>
        </a:p>
      </dgm:t>
    </dgm:pt>
    <dgm:pt modelId="{9D27609C-7BFD-4888-9A15-CF3F0731EAB4}">
      <dgm:prSet custT="1"/>
      <dgm:spPr/>
      <dgm:t>
        <a:bodyPr/>
        <a:lstStyle/>
        <a:p>
          <a:pPr>
            <a:spcAft>
              <a:spcPts val="1200"/>
            </a:spcAft>
          </a:pPr>
          <a:r>
            <a:rPr lang="ru-RU" sz="1800" b="0" u="none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3. Отпуск лекарственных препаратов для оказания медицинской помощи</a:t>
          </a:r>
        </a:p>
      </dgm:t>
    </dgm:pt>
    <dgm:pt modelId="{F3170CCD-1F17-417F-A0F8-EEC996D10508}" type="parTrans" cxnId="{2149DF8D-A53E-4AB4-AAE8-014B9704555E}">
      <dgm:prSet/>
      <dgm:spPr/>
      <dgm:t>
        <a:bodyPr/>
        <a:lstStyle/>
        <a:p>
          <a:endParaRPr lang="ru-RU"/>
        </a:p>
      </dgm:t>
    </dgm:pt>
    <dgm:pt modelId="{E3E5B9E2-5BFF-4326-9777-DE9A314A28AA}" type="sibTrans" cxnId="{2149DF8D-A53E-4AB4-AAE8-014B9704555E}">
      <dgm:prSet/>
      <dgm:spPr/>
      <dgm:t>
        <a:bodyPr/>
        <a:lstStyle/>
        <a:p>
          <a:endParaRPr lang="ru-RU"/>
        </a:p>
      </dgm:t>
    </dgm:pt>
    <dgm:pt modelId="{4929B7D8-9FFE-43C8-8C8C-75B2FA6CACE7}">
      <dgm:prSet phldrT="[Текст]"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en-US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3</a:t>
          </a: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.9.2. Повторный ввод в оборот ЛП, ранее выведенных из оборота по различным причинам</a:t>
          </a:r>
        </a:p>
      </dgm:t>
    </dgm:pt>
    <dgm:pt modelId="{B958D149-6A75-46CC-9D74-BF001B829CBD}" type="parTrans" cxnId="{A5BD4663-BEE4-4F64-8ABF-AEC7EC293756}">
      <dgm:prSet/>
      <dgm:spPr/>
      <dgm:t>
        <a:bodyPr/>
        <a:lstStyle/>
        <a:p>
          <a:endParaRPr lang="ru-RU"/>
        </a:p>
      </dgm:t>
    </dgm:pt>
    <dgm:pt modelId="{993234F8-C4B1-497F-B6A4-86F92EE9B4A2}" type="sibTrans" cxnId="{A5BD4663-BEE4-4F64-8ABF-AEC7EC293756}">
      <dgm:prSet/>
      <dgm:spPr/>
      <dgm:t>
        <a:bodyPr/>
        <a:lstStyle/>
        <a:p>
          <a:endParaRPr lang="ru-RU"/>
        </a:p>
      </dgm:t>
    </dgm:pt>
    <dgm:pt modelId="{6CD5C316-1DDD-4D96-BAE3-062DCAAC66EB}" type="pres">
      <dgm:prSet presAssocID="{36CA4D3E-065F-41DB-ACC4-EC6689F0F384}" presName="linear" presStyleCnt="0">
        <dgm:presLayoutVars>
          <dgm:animLvl val="lvl"/>
          <dgm:resizeHandles val="exact"/>
        </dgm:presLayoutVars>
      </dgm:prSet>
      <dgm:spPr/>
    </dgm:pt>
    <dgm:pt modelId="{48AE99E9-6AC0-4BE1-ADC4-B7A9AA0963DB}" type="pres">
      <dgm:prSet presAssocID="{9CF9CBA8-1381-4C0E-AF07-0B4DF8EF337B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0DE61F2F-E993-4BC6-841C-810E4E79B3FB}" type="pres">
      <dgm:prSet presAssocID="{9CF9CBA8-1381-4C0E-AF07-0B4DF8EF337B}" presName="childText" presStyleLbl="revTx" presStyleIdx="0" presStyleCnt="2">
        <dgm:presLayoutVars>
          <dgm:bulletEnabled val="1"/>
        </dgm:presLayoutVars>
      </dgm:prSet>
      <dgm:spPr/>
    </dgm:pt>
    <dgm:pt modelId="{A1CF04D7-A973-4019-A9A3-AA935A41830C}" type="pres">
      <dgm:prSet presAssocID="{56238B81-8B1F-4D3E-A2A1-8034509903C4}" presName="parentText" presStyleLbl="node1" presStyleIdx="1" presStyleCnt="2" custLinFactNeighborX="-357">
        <dgm:presLayoutVars>
          <dgm:chMax val="0"/>
          <dgm:bulletEnabled val="1"/>
        </dgm:presLayoutVars>
      </dgm:prSet>
      <dgm:spPr/>
    </dgm:pt>
    <dgm:pt modelId="{01F7CC9E-425B-467E-B4F3-BFAB6ED87B8F}" type="pres">
      <dgm:prSet presAssocID="{56238B81-8B1F-4D3E-A2A1-8034509903C4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C79EFE10-7279-45A6-9852-512787FE195E}" type="presOf" srcId="{56238B81-8B1F-4D3E-A2A1-8034509903C4}" destId="{A1CF04D7-A973-4019-A9A3-AA935A41830C}" srcOrd="0" destOrd="0" presId="urn:microsoft.com/office/officeart/2005/8/layout/vList2"/>
    <dgm:cxn modelId="{30BE6E15-1290-4E13-B98B-C73B6FD27281}" srcId="{9CF9CBA8-1381-4C0E-AF07-0B4DF8EF337B}" destId="{4E76746F-A977-4FF3-93AF-2F32CFEC7346}" srcOrd="5" destOrd="0" parTransId="{31A99A7C-5E65-4D31-9B79-79713823C62B}" sibTransId="{98CC5001-8917-4D50-BB4B-53C7321B7344}"/>
    <dgm:cxn modelId="{E2EE791F-202A-44B4-9E97-CA5BD415FA68}" type="presOf" srcId="{DCC45AC4-F94A-4B93-A051-A4E9641DB302}" destId="{01F7CC9E-425B-467E-B4F3-BFAB6ED87B8F}" srcOrd="0" destOrd="0" presId="urn:microsoft.com/office/officeart/2005/8/layout/vList2"/>
    <dgm:cxn modelId="{F2A0E426-349C-4DD9-8C9E-37B7428F808D}" srcId="{56238B81-8B1F-4D3E-A2A1-8034509903C4}" destId="{A5879651-F114-4D99-8933-B94BF39CB469}" srcOrd="1" destOrd="0" parTransId="{F3541B76-55E6-474B-AD06-639737108414}" sibTransId="{5B50781E-335E-43D6-B91E-F8EFC7694135}"/>
    <dgm:cxn modelId="{87D09428-2EEA-4AD6-A1E6-3DF6DF0C091C}" type="presOf" srcId="{A5879651-F114-4D99-8933-B94BF39CB469}" destId="{01F7CC9E-425B-467E-B4F3-BFAB6ED87B8F}" srcOrd="0" destOrd="1" presId="urn:microsoft.com/office/officeart/2005/8/layout/vList2"/>
    <dgm:cxn modelId="{9425A928-DAF0-4403-BDE4-98919A888BA1}" type="presOf" srcId="{36CA4D3E-065F-41DB-ACC4-EC6689F0F384}" destId="{6CD5C316-1DDD-4D96-BAE3-062DCAAC66EB}" srcOrd="0" destOrd="0" presId="urn:microsoft.com/office/officeart/2005/8/layout/vList2"/>
    <dgm:cxn modelId="{756C455C-B548-46BC-95D9-63A98C6B810E}" type="presOf" srcId="{F8FBED0E-F100-45A2-BF9F-57E307DAAB3F}" destId="{0DE61F2F-E993-4BC6-841C-810E4E79B3FB}" srcOrd="0" destOrd="3" presId="urn:microsoft.com/office/officeart/2005/8/layout/vList2"/>
    <dgm:cxn modelId="{A5BD4663-BEE4-4F64-8ABF-AEC7EC293756}" srcId="{9CF9CBA8-1381-4C0E-AF07-0B4DF8EF337B}" destId="{4929B7D8-9FFE-43C8-8C8C-75B2FA6CACE7}" srcOrd="0" destOrd="0" parTransId="{B958D149-6A75-46CC-9D74-BF001B829CBD}" sibTransId="{993234F8-C4B1-497F-B6A4-86F92EE9B4A2}"/>
    <dgm:cxn modelId="{34F84B68-9F62-4227-892A-E017B4729E82}" type="presOf" srcId="{03F98ACD-717A-4A82-BE88-9793365D848A}" destId="{0DE61F2F-E993-4BC6-841C-810E4E79B3FB}" srcOrd="0" destOrd="7" presId="urn:microsoft.com/office/officeart/2005/8/layout/vList2"/>
    <dgm:cxn modelId="{095C0D4A-8913-4721-97E1-6F7925E2556F}" type="presOf" srcId="{FEEA498B-D6C4-4E33-8D8F-5ED68CDD449D}" destId="{0DE61F2F-E993-4BC6-841C-810E4E79B3FB}" srcOrd="0" destOrd="4" presId="urn:microsoft.com/office/officeart/2005/8/layout/vList2"/>
    <dgm:cxn modelId="{78BCC36D-D84B-43A5-86C5-98F2241E78C4}" srcId="{36CA4D3E-065F-41DB-ACC4-EC6689F0F384}" destId="{9CF9CBA8-1381-4C0E-AF07-0B4DF8EF337B}" srcOrd="0" destOrd="0" parTransId="{D393C8B6-6AF2-449F-A2DB-6C12C1148B0F}" sibTransId="{CDC80C5D-2EAD-489B-8050-E8A688C87BB7}"/>
    <dgm:cxn modelId="{EB93BD4E-6E48-463A-BF4B-C62BC087A0D6}" srcId="{9CF9CBA8-1381-4C0E-AF07-0B4DF8EF337B}" destId="{A2B297D3-1CD7-487C-B8C6-27D4B6F08601}" srcOrd="2" destOrd="0" parTransId="{A5081663-B7DD-4718-8EA3-F8B50A2FEC69}" sibTransId="{AB91480D-E36C-4D3C-9A5F-C961308F77A3}"/>
    <dgm:cxn modelId="{F7A92359-D5DD-4401-AD04-F8013F5FBA8C}" type="presOf" srcId="{7ABB629B-B4B9-4F84-B05A-B8612DA0DBA4}" destId="{0DE61F2F-E993-4BC6-841C-810E4E79B3FB}" srcOrd="0" destOrd="1" presId="urn:microsoft.com/office/officeart/2005/8/layout/vList2"/>
    <dgm:cxn modelId="{2A2E278C-2800-4380-987E-136BD49DA905}" type="presOf" srcId="{4E76746F-A977-4FF3-93AF-2F32CFEC7346}" destId="{0DE61F2F-E993-4BC6-841C-810E4E79B3FB}" srcOrd="0" destOrd="5" presId="urn:microsoft.com/office/officeart/2005/8/layout/vList2"/>
    <dgm:cxn modelId="{E2AB928C-7E89-4D62-8E91-B17929C7B3BD}" srcId="{36CA4D3E-065F-41DB-ACC4-EC6689F0F384}" destId="{56238B81-8B1F-4D3E-A2A1-8034509903C4}" srcOrd="1" destOrd="0" parTransId="{F0F8E807-045E-4152-A976-27976E9FE714}" sibTransId="{CCE429A5-D02E-421C-9B78-200F5656C1FA}"/>
    <dgm:cxn modelId="{2149DF8D-A53E-4AB4-AAE8-014B9704555E}" srcId="{56238B81-8B1F-4D3E-A2A1-8034509903C4}" destId="{9D27609C-7BFD-4888-9A15-CF3F0731EAB4}" srcOrd="2" destOrd="0" parTransId="{F3170CCD-1F17-417F-A0F8-EEC996D10508}" sibTransId="{E3E5B9E2-5BFF-4326-9777-DE9A314A28AA}"/>
    <dgm:cxn modelId="{3A659390-89B4-416A-9821-B35A2418DD46}" type="presOf" srcId="{9D27609C-7BFD-4888-9A15-CF3F0731EAB4}" destId="{01F7CC9E-425B-467E-B4F3-BFAB6ED87B8F}" srcOrd="0" destOrd="2" presId="urn:microsoft.com/office/officeart/2005/8/layout/vList2"/>
    <dgm:cxn modelId="{E6E4F691-9490-4841-AEA2-18AC6A145368}" srcId="{9CF9CBA8-1381-4C0E-AF07-0B4DF8EF337B}" destId="{7ABB629B-B4B9-4F84-B05A-B8612DA0DBA4}" srcOrd="1" destOrd="0" parTransId="{FCE36C86-43E3-4C85-A06D-ACE09FA014E8}" sibTransId="{44682DE8-44B4-480E-BBBD-45110AF659D7}"/>
    <dgm:cxn modelId="{FF03B092-B08B-4BE7-92F6-F84AD5CAA692}" srcId="{9CF9CBA8-1381-4C0E-AF07-0B4DF8EF337B}" destId="{992D9A75-F29C-44A6-B693-7778A2CB40A8}" srcOrd="6" destOrd="0" parTransId="{87794D2F-982E-469A-AA4D-D415CFC5088A}" sibTransId="{7902042F-91BC-438E-9E34-E08BE6F752C3}"/>
    <dgm:cxn modelId="{4495DC98-810E-4848-8D8A-8FBD75CE2A02}" type="presOf" srcId="{4929B7D8-9FFE-43C8-8C8C-75B2FA6CACE7}" destId="{0DE61F2F-E993-4BC6-841C-810E4E79B3FB}" srcOrd="0" destOrd="0" presId="urn:microsoft.com/office/officeart/2005/8/layout/vList2"/>
    <dgm:cxn modelId="{BD5F6AA1-8FB1-477F-8DA7-A9426CE89FD8}" type="presOf" srcId="{992D9A75-F29C-44A6-B693-7778A2CB40A8}" destId="{0DE61F2F-E993-4BC6-841C-810E4E79B3FB}" srcOrd="0" destOrd="6" presId="urn:microsoft.com/office/officeart/2005/8/layout/vList2"/>
    <dgm:cxn modelId="{F8C83DC4-6651-4D3C-B929-9B03C9FF5A7F}" srcId="{9CF9CBA8-1381-4C0E-AF07-0B4DF8EF337B}" destId="{F8FBED0E-F100-45A2-BF9F-57E307DAAB3F}" srcOrd="3" destOrd="0" parTransId="{7B2100F2-12C1-45CF-87EC-9A9B4B809AFD}" sibTransId="{96D13E69-FBFF-49D5-9C07-C0BA4F4AD1E3}"/>
    <dgm:cxn modelId="{DA3C3ACC-B7C4-4AD5-ADBE-69928A4C69C1}" type="presOf" srcId="{9CF9CBA8-1381-4C0E-AF07-0B4DF8EF337B}" destId="{48AE99E9-6AC0-4BE1-ADC4-B7A9AA0963DB}" srcOrd="0" destOrd="0" presId="urn:microsoft.com/office/officeart/2005/8/layout/vList2"/>
    <dgm:cxn modelId="{F4DDCCD6-9CAC-4578-905D-27D7AE81AB9E}" srcId="{56238B81-8B1F-4D3E-A2A1-8034509903C4}" destId="{DCC45AC4-F94A-4B93-A051-A4E9641DB302}" srcOrd="0" destOrd="0" parTransId="{BDF3F2EB-8914-481B-9C48-A6199B921654}" sibTransId="{8413818C-B229-49C4-82C0-2B246FA273FF}"/>
    <dgm:cxn modelId="{9A119AE6-3B77-4AD9-BC52-6F41428CA5F4}" srcId="{9CF9CBA8-1381-4C0E-AF07-0B4DF8EF337B}" destId="{FEEA498B-D6C4-4E33-8D8F-5ED68CDD449D}" srcOrd="4" destOrd="0" parTransId="{23ED7838-71FD-4880-BBFC-B7A59585BE5D}" sibTransId="{9F21B91D-7ACC-49CB-B47E-E9797FF0BC2A}"/>
    <dgm:cxn modelId="{91E6F0F5-F028-44CD-A8CA-47E426D12129}" srcId="{9CF9CBA8-1381-4C0E-AF07-0B4DF8EF337B}" destId="{03F98ACD-717A-4A82-BE88-9793365D848A}" srcOrd="7" destOrd="0" parTransId="{488AA22D-2CF1-4F06-86D0-B9C92C464417}" sibTransId="{A6646CF8-731D-403A-A380-4A6093D4044B}"/>
    <dgm:cxn modelId="{C9BF5AFB-745D-4769-8D38-AFC544C59E0A}" type="presOf" srcId="{A2B297D3-1CD7-487C-B8C6-27D4B6F08601}" destId="{0DE61F2F-E993-4BC6-841C-810E4E79B3FB}" srcOrd="0" destOrd="2" presId="urn:microsoft.com/office/officeart/2005/8/layout/vList2"/>
    <dgm:cxn modelId="{5A07BA1F-4EA8-4F20-BE2C-3461D476FE27}" type="presParOf" srcId="{6CD5C316-1DDD-4D96-BAE3-062DCAAC66EB}" destId="{48AE99E9-6AC0-4BE1-ADC4-B7A9AA0963DB}" srcOrd="0" destOrd="0" presId="urn:microsoft.com/office/officeart/2005/8/layout/vList2"/>
    <dgm:cxn modelId="{F487A47B-8B5C-47F3-8DE5-87CE8BE8F440}" type="presParOf" srcId="{6CD5C316-1DDD-4D96-BAE3-062DCAAC66EB}" destId="{0DE61F2F-E993-4BC6-841C-810E4E79B3FB}" srcOrd="1" destOrd="0" presId="urn:microsoft.com/office/officeart/2005/8/layout/vList2"/>
    <dgm:cxn modelId="{05DC9DE6-CE81-4C81-BE8C-DABDBBCC8C73}" type="presParOf" srcId="{6CD5C316-1DDD-4D96-BAE3-062DCAAC66EB}" destId="{A1CF04D7-A973-4019-A9A3-AA935A41830C}" srcOrd="2" destOrd="0" presId="urn:microsoft.com/office/officeart/2005/8/layout/vList2"/>
    <dgm:cxn modelId="{AD0921EB-08FC-4208-946F-CC877774E4F3}" type="presParOf" srcId="{6CD5C316-1DDD-4D96-BAE3-062DCAAC66EB}" destId="{01F7CC9E-425B-467E-B4F3-BFAB6ED87B8F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CA4D3E-065F-41DB-ACC4-EC6689F0F38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CF9CBA8-1381-4C0E-AF07-0B4DF8EF337B}">
      <dgm:prSet phldrT="[Текст]"/>
      <dgm:spPr>
        <a:solidFill>
          <a:srgbClr val="EFEB2E"/>
        </a:solidFill>
      </dgm:spPr>
      <dgm:t>
        <a:bodyPr/>
        <a:lstStyle/>
        <a:p>
          <a:r>
            <a:rPr lang="ru-RU" b="1" dirty="0">
              <a:solidFill>
                <a:srgbClr val="58595B"/>
              </a:solidFill>
            </a:rPr>
            <a:t>Что? </a:t>
          </a:r>
          <a:r>
            <a:rPr lang="ru-RU" b="0" dirty="0">
              <a:solidFill>
                <a:srgbClr val="58595B"/>
              </a:solidFill>
            </a:rPr>
            <a:t>Описание форматов данных</a:t>
          </a:r>
        </a:p>
      </dgm:t>
    </dgm:pt>
    <dgm:pt modelId="{D393C8B6-6AF2-449F-A2DB-6C12C1148B0F}" type="parTrans" cxnId="{78BCC36D-D84B-43A5-86C5-98F2241E78C4}">
      <dgm:prSet/>
      <dgm:spPr/>
      <dgm:t>
        <a:bodyPr/>
        <a:lstStyle/>
        <a:p>
          <a:endParaRPr lang="ru-RU"/>
        </a:p>
      </dgm:t>
    </dgm:pt>
    <dgm:pt modelId="{CDC80C5D-2EAD-489B-8050-E8A688C87BB7}" type="sibTrans" cxnId="{78BCC36D-D84B-43A5-86C5-98F2241E78C4}">
      <dgm:prSet/>
      <dgm:spPr/>
      <dgm:t>
        <a:bodyPr/>
        <a:lstStyle/>
        <a:p>
          <a:endParaRPr lang="ru-RU"/>
        </a:p>
      </dgm:t>
    </dgm:pt>
    <dgm:pt modelId="{E883769F-6ADC-4C71-9F95-BB07E2E8FDA1}">
      <dgm:prSet phldrT="[Текст]"/>
      <dgm:spPr/>
      <dgm:t>
        <a:bodyPr/>
        <a:lstStyle/>
        <a:p>
          <a:pPr>
            <a:spcAft>
              <a:spcPts val="1200"/>
            </a:spcAft>
          </a:pPr>
          <a:r>
            <a:rPr lang="ru-RU" b="1" dirty="0"/>
            <a:t>Приказ ФНС от 21 марта 2017 г. N ММВ-7-20/229@</a:t>
          </a:r>
          <a:r>
            <a:rPr lang="ru-RU" dirty="0"/>
            <a:t> «Об утверждении дополнительных реквизитов фискальных документов и форматов фискальных документов, обязательных к использованию» определяет формат данных, передаваемых ККТ (далее – Приказ ФНС)</a:t>
          </a:r>
        </a:p>
      </dgm:t>
    </dgm:pt>
    <dgm:pt modelId="{24AD54F2-D428-46C1-818F-01C01350A3DE}" type="parTrans" cxnId="{34C70C59-DFA9-4917-AC3B-56BAF3D7A5D1}">
      <dgm:prSet/>
      <dgm:spPr/>
      <dgm:t>
        <a:bodyPr/>
        <a:lstStyle/>
        <a:p>
          <a:endParaRPr lang="ru-RU"/>
        </a:p>
      </dgm:t>
    </dgm:pt>
    <dgm:pt modelId="{60FAD85F-65CB-4473-BB07-A2BF070F558D}" type="sibTrans" cxnId="{34C70C59-DFA9-4917-AC3B-56BAF3D7A5D1}">
      <dgm:prSet/>
      <dgm:spPr/>
      <dgm:t>
        <a:bodyPr/>
        <a:lstStyle/>
        <a:p>
          <a:endParaRPr lang="ru-RU"/>
        </a:p>
      </dgm:t>
    </dgm:pt>
    <dgm:pt modelId="{56238B81-8B1F-4D3E-A2A1-8034509903C4}">
      <dgm:prSet phldrT="[Текст]"/>
      <dgm:spPr>
        <a:solidFill>
          <a:srgbClr val="EFEB2E"/>
        </a:solidFill>
      </dgm:spPr>
      <dgm:t>
        <a:bodyPr/>
        <a:lstStyle/>
        <a:p>
          <a:r>
            <a:rPr lang="ru-RU" b="1" dirty="0">
              <a:solidFill>
                <a:srgbClr val="58595B"/>
              </a:solidFill>
            </a:rPr>
            <a:t>Когда? </a:t>
          </a:r>
          <a:r>
            <a:rPr lang="ru-RU" b="0" dirty="0">
              <a:solidFill>
                <a:srgbClr val="58595B"/>
              </a:solidFill>
            </a:rPr>
            <a:t>Регламент информационного обмена</a:t>
          </a:r>
        </a:p>
      </dgm:t>
    </dgm:pt>
    <dgm:pt modelId="{F0F8E807-045E-4152-A976-27976E9FE714}" type="parTrans" cxnId="{E2AB928C-7E89-4D62-8E91-B17929C7B3BD}">
      <dgm:prSet/>
      <dgm:spPr/>
      <dgm:t>
        <a:bodyPr/>
        <a:lstStyle/>
        <a:p>
          <a:endParaRPr lang="ru-RU"/>
        </a:p>
      </dgm:t>
    </dgm:pt>
    <dgm:pt modelId="{CCE429A5-D02E-421C-9B78-200F5656C1FA}" type="sibTrans" cxnId="{E2AB928C-7E89-4D62-8E91-B17929C7B3BD}">
      <dgm:prSet/>
      <dgm:spPr/>
      <dgm:t>
        <a:bodyPr/>
        <a:lstStyle/>
        <a:p>
          <a:endParaRPr lang="ru-RU"/>
        </a:p>
      </dgm:t>
    </dgm:pt>
    <dgm:pt modelId="{DCC45AC4-F94A-4B93-A051-A4E9641DB302}">
      <dgm:prSet phldrT="[Текст]"/>
      <dgm:spPr/>
      <dgm:t>
        <a:bodyPr/>
        <a:lstStyle/>
        <a:p>
          <a:pPr>
            <a:spcAft>
              <a:spcPts val="1200"/>
            </a:spcAft>
          </a:pPr>
          <a:r>
            <a:rPr lang="ru-RU" b="1" u="none" dirty="0"/>
            <a:t>Федеральный закон от 22 мая 2003 года №54-ФЗ</a:t>
          </a:r>
          <a:r>
            <a:rPr lang="ru-RU" u="none" dirty="0"/>
            <a:t> </a:t>
          </a:r>
          <a:r>
            <a:rPr lang="ru-RU" dirty="0"/>
            <a:t>«О применении контрольно-кассовой техники при осуществлении расчетов в российской федерации» определяет регламент информационного обмена ККТ (в т.ч. путем передачи фискального накопителя)</a:t>
          </a:r>
        </a:p>
      </dgm:t>
    </dgm:pt>
    <dgm:pt modelId="{BDF3F2EB-8914-481B-9C48-A6199B921654}" type="parTrans" cxnId="{F4DDCCD6-9CAC-4578-905D-27D7AE81AB9E}">
      <dgm:prSet/>
      <dgm:spPr/>
      <dgm:t>
        <a:bodyPr/>
        <a:lstStyle/>
        <a:p>
          <a:endParaRPr lang="ru-RU"/>
        </a:p>
      </dgm:t>
    </dgm:pt>
    <dgm:pt modelId="{8413818C-B229-49C4-82C0-2B246FA273FF}" type="sibTrans" cxnId="{F4DDCCD6-9CAC-4578-905D-27D7AE81AB9E}">
      <dgm:prSet/>
      <dgm:spPr/>
      <dgm:t>
        <a:bodyPr/>
        <a:lstStyle/>
        <a:p>
          <a:endParaRPr lang="ru-RU"/>
        </a:p>
      </dgm:t>
    </dgm:pt>
    <dgm:pt modelId="{7ABB629B-B4B9-4F84-B05A-B8612DA0DBA4}">
      <dgm:prSet phldrT="[Текст]"/>
      <dgm:spPr/>
      <dgm:t>
        <a:bodyPr/>
        <a:lstStyle/>
        <a:p>
          <a:pPr>
            <a:spcAft>
              <a:spcPts val="1200"/>
            </a:spcAft>
          </a:pPr>
          <a:r>
            <a:rPr lang="ru-RU" b="1" dirty="0"/>
            <a:t>Документ «Описание схем </a:t>
          </a:r>
          <a:r>
            <a:rPr lang="en-US" b="1" dirty="0"/>
            <a:t>XSD</a:t>
          </a:r>
          <a:r>
            <a:rPr lang="ru-RU" b="1" dirty="0"/>
            <a:t>»</a:t>
          </a:r>
          <a:r>
            <a:rPr lang="ru-RU" b="0" dirty="0"/>
            <a:t>, опубликованный на сайте Оператора системы, устанавливает форматы данных ИС МДЛП</a:t>
          </a:r>
          <a:endParaRPr lang="ru-RU" b="0" u="sng" dirty="0"/>
        </a:p>
      </dgm:t>
    </dgm:pt>
    <dgm:pt modelId="{FCE36C86-43E3-4C85-A06D-ACE09FA014E8}" type="parTrans" cxnId="{E6E4F691-9490-4841-AEA2-18AC6A145368}">
      <dgm:prSet/>
      <dgm:spPr/>
      <dgm:t>
        <a:bodyPr/>
        <a:lstStyle/>
        <a:p>
          <a:endParaRPr lang="ru-RU"/>
        </a:p>
      </dgm:t>
    </dgm:pt>
    <dgm:pt modelId="{44682DE8-44B4-480E-BBBD-45110AF659D7}" type="sibTrans" cxnId="{E6E4F691-9490-4841-AEA2-18AC6A145368}">
      <dgm:prSet/>
      <dgm:spPr/>
      <dgm:t>
        <a:bodyPr/>
        <a:lstStyle/>
        <a:p>
          <a:endParaRPr lang="ru-RU"/>
        </a:p>
      </dgm:t>
    </dgm:pt>
    <dgm:pt modelId="{8EDB9465-C08C-4363-BC50-3A961F5DFB8C}">
      <dgm:prSet phldrT="[Текст]"/>
      <dgm:spPr/>
      <dgm:t>
        <a:bodyPr/>
        <a:lstStyle/>
        <a:p>
          <a:pPr>
            <a:spcAft>
              <a:spcPts val="1200"/>
            </a:spcAft>
          </a:pPr>
          <a:r>
            <a:rPr lang="ru-RU" b="1" u="none" dirty="0"/>
            <a:t>Федеральный закон от 22 мая 2003 года №54-ФЗ</a:t>
          </a:r>
          <a:r>
            <a:rPr lang="ru-RU" u="none" dirty="0"/>
            <a:t> </a:t>
          </a:r>
          <a:r>
            <a:rPr lang="ru-RU" dirty="0"/>
            <a:t>«О применении контрольно-кассовой техники при осуществлении расчетов в российской федерации» определяет необходимость применения (возможность не использовать) ККТ при расчетах (субъектов обращения ЛП касаются, в основном, </a:t>
          </a:r>
          <a:r>
            <a:rPr lang="ru-RU" dirty="0" err="1"/>
            <a:t>пп</a:t>
          </a:r>
          <a:r>
            <a:rPr lang="ru-RU" dirty="0"/>
            <a:t>. 3, 5 и 7 Статьи 2)</a:t>
          </a:r>
        </a:p>
      </dgm:t>
    </dgm:pt>
    <dgm:pt modelId="{E7BDCA79-BD1E-4670-B734-56265FC7CB1D}" type="parTrans" cxnId="{161D2FE0-33AC-4C6D-8420-69A65CBC18C2}">
      <dgm:prSet/>
      <dgm:spPr/>
      <dgm:t>
        <a:bodyPr/>
        <a:lstStyle/>
        <a:p>
          <a:endParaRPr lang="ru-RU"/>
        </a:p>
      </dgm:t>
    </dgm:pt>
    <dgm:pt modelId="{7F4FC989-CCB5-4DAD-ABCF-4B66E5250AFE}" type="sibTrans" cxnId="{161D2FE0-33AC-4C6D-8420-69A65CBC18C2}">
      <dgm:prSet/>
      <dgm:spPr/>
      <dgm:t>
        <a:bodyPr/>
        <a:lstStyle/>
        <a:p>
          <a:endParaRPr lang="ru-RU"/>
        </a:p>
      </dgm:t>
    </dgm:pt>
    <dgm:pt modelId="{D3DCC2F4-9C3E-4AC0-A6E6-290B7D538651}">
      <dgm:prSet phldrT="[Текст]"/>
      <dgm:spPr/>
      <dgm:t>
        <a:bodyPr/>
        <a:lstStyle/>
        <a:p>
          <a:pPr>
            <a:spcAft>
              <a:spcPts val="1200"/>
            </a:spcAft>
          </a:pPr>
          <a:r>
            <a:rPr lang="ru-RU" b="1" dirty="0"/>
            <a:t>Постановление Правительства РФ от 14.12.2018 №1556</a:t>
          </a:r>
          <a:r>
            <a:rPr lang="ru-RU" b="0" dirty="0"/>
            <a:t> определяет структуру кода маркировки </a:t>
          </a:r>
          <a:r>
            <a:rPr lang="ru-RU" dirty="0"/>
            <a:t>и регламент регистрации сведений в системе маркировки</a:t>
          </a:r>
        </a:p>
      </dgm:t>
    </dgm:pt>
    <dgm:pt modelId="{131A0986-543F-4BBE-A8B9-162133276C9C}" type="parTrans" cxnId="{8CF270CE-FB7A-4FF7-8D96-E1C3C2ADBCCF}">
      <dgm:prSet/>
      <dgm:spPr/>
      <dgm:t>
        <a:bodyPr/>
        <a:lstStyle/>
        <a:p>
          <a:endParaRPr lang="ru-RU"/>
        </a:p>
      </dgm:t>
    </dgm:pt>
    <dgm:pt modelId="{ECB54012-5D80-44D7-93D7-AB8B88F49C2D}" type="sibTrans" cxnId="{8CF270CE-FB7A-4FF7-8D96-E1C3C2ADBCCF}">
      <dgm:prSet/>
      <dgm:spPr/>
      <dgm:t>
        <a:bodyPr/>
        <a:lstStyle/>
        <a:p>
          <a:endParaRPr lang="ru-RU"/>
        </a:p>
      </dgm:t>
    </dgm:pt>
    <dgm:pt modelId="{DB532F25-7D1F-4C34-872B-D60FD9C60DD3}">
      <dgm:prSet phldrT="[Текст]" custT="1"/>
      <dgm:spPr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64770" tIns="64770" rIns="64770" bIns="64770" numCol="1" spcCol="1270" anchor="ctr" anchorCtr="0"/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dirty="0">
              <a:solidFill>
                <a:srgbClr val="58595B"/>
              </a:solidFill>
            </a:rPr>
            <a:t>Где? </a:t>
          </a:r>
          <a:r>
            <a:rPr lang="ru-RU" sz="1600" b="0" dirty="0">
              <a:solidFill>
                <a:srgbClr val="58595B"/>
              </a:solidFill>
            </a:rPr>
            <a:t>Сфера применения </a:t>
          </a:r>
          <a:endParaRPr lang="ru-RU" sz="1700" b="0" kern="1200" dirty="0">
            <a:solidFill>
              <a:srgbClr val="58595B"/>
            </a:solidFill>
            <a:latin typeface="PT Sans Caption"/>
            <a:ea typeface="+mn-ea"/>
            <a:cs typeface="+mn-cs"/>
          </a:endParaRPr>
        </a:p>
      </dgm:t>
    </dgm:pt>
    <dgm:pt modelId="{2F81C52D-8DDB-49F2-85D3-409E4B8B02EC}" type="parTrans" cxnId="{9D5A28B5-889A-4784-A74D-D89AA82F564D}">
      <dgm:prSet/>
      <dgm:spPr/>
      <dgm:t>
        <a:bodyPr/>
        <a:lstStyle/>
        <a:p>
          <a:endParaRPr lang="ru-RU"/>
        </a:p>
      </dgm:t>
    </dgm:pt>
    <dgm:pt modelId="{0039E3F9-CB12-468E-B4EA-E74C293452C6}" type="sibTrans" cxnId="{9D5A28B5-889A-4784-A74D-D89AA82F564D}">
      <dgm:prSet/>
      <dgm:spPr/>
      <dgm:t>
        <a:bodyPr/>
        <a:lstStyle/>
        <a:p>
          <a:endParaRPr lang="ru-RU"/>
        </a:p>
      </dgm:t>
    </dgm:pt>
    <dgm:pt modelId="{9291F2F8-1318-465F-99F3-714CDDD0CCDB}">
      <dgm:prSet phldrT="[Текст]"/>
      <dgm:spPr/>
      <dgm:t>
        <a:bodyPr/>
        <a:lstStyle/>
        <a:p>
          <a:pPr>
            <a:spcAft>
              <a:spcPts val="1200"/>
            </a:spcAft>
          </a:pPr>
          <a:r>
            <a:rPr lang="ru-RU" b="1" dirty="0"/>
            <a:t>Постановление Правительства РФ от 14.12.2018 №1557</a:t>
          </a:r>
          <a:r>
            <a:rPr lang="ru-RU" b="0" dirty="0"/>
            <a:t> определяет порядок оснащения регистраторами выбытия мест осуществления деятельности, не оснащенных ККТ</a:t>
          </a:r>
        </a:p>
      </dgm:t>
    </dgm:pt>
    <dgm:pt modelId="{DC9022E4-506F-4871-9615-92B292DA5C50}" type="parTrans" cxnId="{8F6F7C94-234D-4A95-AE44-EEC070D698FB}">
      <dgm:prSet/>
      <dgm:spPr/>
      <dgm:t>
        <a:bodyPr/>
        <a:lstStyle/>
        <a:p>
          <a:endParaRPr lang="ru-RU"/>
        </a:p>
      </dgm:t>
    </dgm:pt>
    <dgm:pt modelId="{3EC20725-2387-4A47-960C-4790E9DD2C4E}" type="sibTrans" cxnId="{8F6F7C94-234D-4A95-AE44-EEC070D698FB}">
      <dgm:prSet/>
      <dgm:spPr/>
      <dgm:t>
        <a:bodyPr/>
        <a:lstStyle/>
        <a:p>
          <a:endParaRPr lang="ru-RU"/>
        </a:p>
      </dgm:t>
    </dgm:pt>
    <dgm:pt modelId="{6CD5C316-1DDD-4D96-BAE3-062DCAAC66EB}" type="pres">
      <dgm:prSet presAssocID="{36CA4D3E-065F-41DB-ACC4-EC6689F0F384}" presName="linear" presStyleCnt="0">
        <dgm:presLayoutVars>
          <dgm:animLvl val="lvl"/>
          <dgm:resizeHandles val="exact"/>
        </dgm:presLayoutVars>
      </dgm:prSet>
      <dgm:spPr/>
    </dgm:pt>
    <dgm:pt modelId="{48AE99E9-6AC0-4BE1-ADC4-B7A9AA0963DB}" type="pres">
      <dgm:prSet presAssocID="{9CF9CBA8-1381-4C0E-AF07-0B4DF8EF337B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DE61F2F-E993-4BC6-841C-810E4E79B3FB}" type="pres">
      <dgm:prSet presAssocID="{9CF9CBA8-1381-4C0E-AF07-0B4DF8EF337B}" presName="childText" presStyleLbl="revTx" presStyleIdx="0" presStyleCnt="3">
        <dgm:presLayoutVars>
          <dgm:bulletEnabled val="1"/>
        </dgm:presLayoutVars>
      </dgm:prSet>
      <dgm:spPr/>
    </dgm:pt>
    <dgm:pt modelId="{A1CF04D7-A973-4019-A9A3-AA935A41830C}" type="pres">
      <dgm:prSet presAssocID="{56238B81-8B1F-4D3E-A2A1-8034509903C4}" presName="parentText" presStyleLbl="node1" presStyleIdx="1" presStyleCnt="3" custLinFactNeighborX="-357">
        <dgm:presLayoutVars>
          <dgm:chMax val="0"/>
          <dgm:bulletEnabled val="1"/>
        </dgm:presLayoutVars>
      </dgm:prSet>
      <dgm:spPr/>
    </dgm:pt>
    <dgm:pt modelId="{01F7CC9E-425B-467E-B4F3-BFAB6ED87B8F}" type="pres">
      <dgm:prSet presAssocID="{56238B81-8B1F-4D3E-A2A1-8034509903C4}" presName="childText" presStyleLbl="revTx" presStyleIdx="1" presStyleCnt="3">
        <dgm:presLayoutVars>
          <dgm:bulletEnabled val="1"/>
        </dgm:presLayoutVars>
      </dgm:prSet>
      <dgm:spPr/>
    </dgm:pt>
    <dgm:pt modelId="{39A0D6C3-38D9-42AF-A344-A45DC3E1F539}" type="pres">
      <dgm:prSet presAssocID="{DB532F25-7D1F-4C34-872B-D60FD9C60DD3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4301851"/>
          <a:ext cx="11310792" cy="427635"/>
        </a:xfrm>
        <a:prstGeom prst="roundRect">
          <a:avLst/>
        </a:prstGeom>
      </dgm:spPr>
    </dgm:pt>
    <dgm:pt modelId="{EDD7F5D9-51C3-4DEA-B2DD-1D140C0A0D28}" type="pres">
      <dgm:prSet presAssocID="{DB532F25-7D1F-4C34-872B-D60FD9C60DD3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C79EFE10-7279-45A6-9852-512787FE195E}" type="presOf" srcId="{56238B81-8B1F-4D3E-A2A1-8034509903C4}" destId="{A1CF04D7-A973-4019-A9A3-AA935A41830C}" srcOrd="0" destOrd="0" presId="urn:microsoft.com/office/officeart/2005/8/layout/vList2"/>
    <dgm:cxn modelId="{E2EE791F-202A-44B4-9E97-CA5BD415FA68}" type="presOf" srcId="{DCC45AC4-F94A-4B93-A051-A4E9641DB302}" destId="{01F7CC9E-425B-467E-B4F3-BFAB6ED87B8F}" srcOrd="0" destOrd="0" presId="urn:microsoft.com/office/officeart/2005/8/layout/vList2"/>
    <dgm:cxn modelId="{9425A928-DAF0-4403-BDE4-98919A888BA1}" type="presOf" srcId="{36CA4D3E-065F-41DB-ACC4-EC6689F0F384}" destId="{6CD5C316-1DDD-4D96-BAE3-062DCAAC66EB}" srcOrd="0" destOrd="0" presId="urn:microsoft.com/office/officeart/2005/8/layout/vList2"/>
    <dgm:cxn modelId="{4E2FFD49-4BAC-4A84-AFC6-DCE12852245D}" type="presOf" srcId="{8EDB9465-C08C-4363-BC50-3A961F5DFB8C}" destId="{EDD7F5D9-51C3-4DEA-B2DD-1D140C0A0D28}" srcOrd="0" destOrd="0" presId="urn:microsoft.com/office/officeart/2005/8/layout/vList2"/>
    <dgm:cxn modelId="{78BCC36D-D84B-43A5-86C5-98F2241E78C4}" srcId="{36CA4D3E-065F-41DB-ACC4-EC6689F0F384}" destId="{9CF9CBA8-1381-4C0E-AF07-0B4DF8EF337B}" srcOrd="0" destOrd="0" parTransId="{D393C8B6-6AF2-449F-A2DB-6C12C1148B0F}" sibTransId="{CDC80C5D-2EAD-489B-8050-E8A688C87BB7}"/>
    <dgm:cxn modelId="{D05CD170-423C-47F5-BED3-402CF2743813}" type="presOf" srcId="{E883769F-6ADC-4C71-9F95-BB07E2E8FDA1}" destId="{0DE61F2F-E993-4BC6-841C-810E4E79B3FB}" srcOrd="0" destOrd="0" presId="urn:microsoft.com/office/officeart/2005/8/layout/vList2"/>
    <dgm:cxn modelId="{34C70C59-DFA9-4917-AC3B-56BAF3D7A5D1}" srcId="{9CF9CBA8-1381-4C0E-AF07-0B4DF8EF337B}" destId="{E883769F-6ADC-4C71-9F95-BB07E2E8FDA1}" srcOrd="0" destOrd="0" parTransId="{24AD54F2-D428-46C1-818F-01C01350A3DE}" sibTransId="{60FAD85F-65CB-4473-BB07-A2BF070F558D}"/>
    <dgm:cxn modelId="{F7A92359-D5DD-4401-AD04-F8013F5FBA8C}" type="presOf" srcId="{7ABB629B-B4B9-4F84-B05A-B8612DA0DBA4}" destId="{0DE61F2F-E993-4BC6-841C-810E4E79B3FB}" srcOrd="0" destOrd="1" presId="urn:microsoft.com/office/officeart/2005/8/layout/vList2"/>
    <dgm:cxn modelId="{3BF6BC8A-B16A-48FD-AEC2-549A5B71A6E8}" type="presOf" srcId="{D3DCC2F4-9C3E-4AC0-A6E6-290B7D538651}" destId="{01F7CC9E-425B-467E-B4F3-BFAB6ED87B8F}" srcOrd="0" destOrd="1" presId="urn:microsoft.com/office/officeart/2005/8/layout/vList2"/>
    <dgm:cxn modelId="{E2AB928C-7E89-4D62-8E91-B17929C7B3BD}" srcId="{36CA4D3E-065F-41DB-ACC4-EC6689F0F384}" destId="{56238B81-8B1F-4D3E-A2A1-8034509903C4}" srcOrd="1" destOrd="0" parTransId="{F0F8E807-045E-4152-A976-27976E9FE714}" sibTransId="{CCE429A5-D02E-421C-9B78-200F5656C1FA}"/>
    <dgm:cxn modelId="{E6E4F691-9490-4841-AEA2-18AC6A145368}" srcId="{9CF9CBA8-1381-4C0E-AF07-0B4DF8EF337B}" destId="{7ABB629B-B4B9-4F84-B05A-B8612DA0DBA4}" srcOrd="1" destOrd="0" parTransId="{FCE36C86-43E3-4C85-A06D-ACE09FA014E8}" sibTransId="{44682DE8-44B4-480E-BBBD-45110AF659D7}"/>
    <dgm:cxn modelId="{8F6F7C94-234D-4A95-AE44-EEC070D698FB}" srcId="{DB532F25-7D1F-4C34-872B-D60FD9C60DD3}" destId="{9291F2F8-1318-465F-99F3-714CDDD0CCDB}" srcOrd="1" destOrd="0" parTransId="{DC9022E4-506F-4871-9615-92B292DA5C50}" sibTransId="{3EC20725-2387-4A47-960C-4790E9DD2C4E}"/>
    <dgm:cxn modelId="{9D5A28B5-889A-4784-A74D-D89AA82F564D}" srcId="{36CA4D3E-065F-41DB-ACC4-EC6689F0F384}" destId="{DB532F25-7D1F-4C34-872B-D60FD9C60DD3}" srcOrd="2" destOrd="0" parTransId="{2F81C52D-8DDB-49F2-85D3-409E4B8B02EC}" sibTransId="{0039E3F9-CB12-468E-B4EA-E74C293452C6}"/>
    <dgm:cxn modelId="{DA3C3ACC-B7C4-4AD5-ADBE-69928A4C69C1}" type="presOf" srcId="{9CF9CBA8-1381-4C0E-AF07-0B4DF8EF337B}" destId="{48AE99E9-6AC0-4BE1-ADC4-B7A9AA0963DB}" srcOrd="0" destOrd="0" presId="urn:microsoft.com/office/officeart/2005/8/layout/vList2"/>
    <dgm:cxn modelId="{8CF270CE-FB7A-4FF7-8D96-E1C3C2ADBCCF}" srcId="{56238B81-8B1F-4D3E-A2A1-8034509903C4}" destId="{D3DCC2F4-9C3E-4AC0-A6E6-290B7D538651}" srcOrd="1" destOrd="0" parTransId="{131A0986-543F-4BBE-A8B9-162133276C9C}" sibTransId="{ECB54012-5D80-44D7-93D7-AB8B88F49C2D}"/>
    <dgm:cxn modelId="{F4DDCCD6-9CAC-4578-905D-27D7AE81AB9E}" srcId="{56238B81-8B1F-4D3E-A2A1-8034509903C4}" destId="{DCC45AC4-F94A-4B93-A051-A4E9641DB302}" srcOrd="0" destOrd="0" parTransId="{BDF3F2EB-8914-481B-9C48-A6199B921654}" sibTransId="{8413818C-B229-49C4-82C0-2B246FA273FF}"/>
    <dgm:cxn modelId="{161D2FE0-33AC-4C6D-8420-69A65CBC18C2}" srcId="{DB532F25-7D1F-4C34-872B-D60FD9C60DD3}" destId="{8EDB9465-C08C-4363-BC50-3A961F5DFB8C}" srcOrd="0" destOrd="0" parTransId="{E7BDCA79-BD1E-4670-B734-56265FC7CB1D}" sibTransId="{7F4FC989-CCB5-4DAD-ABCF-4B66E5250AFE}"/>
    <dgm:cxn modelId="{F000FBE1-A4D9-4F9D-B7E0-808D0EB08B75}" type="presOf" srcId="{DB532F25-7D1F-4C34-872B-D60FD9C60DD3}" destId="{39A0D6C3-38D9-42AF-A344-A45DC3E1F539}" srcOrd="0" destOrd="0" presId="urn:microsoft.com/office/officeart/2005/8/layout/vList2"/>
    <dgm:cxn modelId="{17488AFF-BDA0-479A-BD12-B0F8EC885AA7}" type="presOf" srcId="{9291F2F8-1318-465F-99F3-714CDDD0CCDB}" destId="{EDD7F5D9-51C3-4DEA-B2DD-1D140C0A0D28}" srcOrd="0" destOrd="1" presId="urn:microsoft.com/office/officeart/2005/8/layout/vList2"/>
    <dgm:cxn modelId="{5A07BA1F-4EA8-4F20-BE2C-3461D476FE27}" type="presParOf" srcId="{6CD5C316-1DDD-4D96-BAE3-062DCAAC66EB}" destId="{48AE99E9-6AC0-4BE1-ADC4-B7A9AA0963DB}" srcOrd="0" destOrd="0" presId="urn:microsoft.com/office/officeart/2005/8/layout/vList2"/>
    <dgm:cxn modelId="{F487A47B-8B5C-47F3-8DE5-87CE8BE8F440}" type="presParOf" srcId="{6CD5C316-1DDD-4D96-BAE3-062DCAAC66EB}" destId="{0DE61F2F-E993-4BC6-841C-810E4E79B3FB}" srcOrd="1" destOrd="0" presId="urn:microsoft.com/office/officeart/2005/8/layout/vList2"/>
    <dgm:cxn modelId="{05DC9DE6-CE81-4C81-BE8C-DABDBBCC8C73}" type="presParOf" srcId="{6CD5C316-1DDD-4D96-BAE3-062DCAAC66EB}" destId="{A1CF04D7-A973-4019-A9A3-AA935A41830C}" srcOrd="2" destOrd="0" presId="urn:microsoft.com/office/officeart/2005/8/layout/vList2"/>
    <dgm:cxn modelId="{AD0921EB-08FC-4208-946F-CC877774E4F3}" type="presParOf" srcId="{6CD5C316-1DDD-4D96-BAE3-062DCAAC66EB}" destId="{01F7CC9E-425B-467E-B4F3-BFAB6ED87B8F}" srcOrd="3" destOrd="0" presId="urn:microsoft.com/office/officeart/2005/8/layout/vList2"/>
    <dgm:cxn modelId="{2C5F7FB1-DA3E-45C5-BCF2-C7349E40E6E5}" type="presParOf" srcId="{6CD5C316-1DDD-4D96-BAE3-062DCAAC66EB}" destId="{39A0D6C3-38D9-42AF-A344-A45DC3E1F539}" srcOrd="4" destOrd="0" presId="urn:microsoft.com/office/officeart/2005/8/layout/vList2"/>
    <dgm:cxn modelId="{1DCDCD30-284E-4E8A-91B6-9BB762C0FA5D}" type="presParOf" srcId="{6CD5C316-1DDD-4D96-BAE3-062DCAAC66EB}" destId="{EDD7F5D9-51C3-4DEA-B2DD-1D140C0A0D28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82F8AF4-4CBC-4AB6-A2A2-B0F3EF03921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8F8CD4-4453-402F-9903-44C0B4FF1F15}">
      <dgm:prSet phldrT="[Текст]"/>
      <dgm:spPr>
        <a:solidFill>
          <a:srgbClr val="EFEB2E"/>
        </a:solidFill>
      </dgm:spPr>
      <dgm:t>
        <a:bodyPr/>
        <a:lstStyle/>
        <a:p>
          <a:r>
            <a:rPr lang="ru-RU" b="1" dirty="0">
              <a:solidFill>
                <a:srgbClr val="58595B"/>
              </a:solidFill>
            </a:rPr>
            <a:t>Аптеки</a:t>
          </a:r>
          <a:endParaRPr lang="ru-RU" dirty="0"/>
        </a:p>
      </dgm:t>
    </dgm:pt>
    <dgm:pt modelId="{B37E0C5F-84C1-4D55-AC37-C68AC188E47B}" type="parTrans" cxnId="{1C11CD53-0BBB-470C-917C-982565DC30CC}">
      <dgm:prSet/>
      <dgm:spPr/>
      <dgm:t>
        <a:bodyPr/>
        <a:lstStyle/>
        <a:p>
          <a:endParaRPr lang="ru-RU"/>
        </a:p>
      </dgm:t>
    </dgm:pt>
    <dgm:pt modelId="{9F49064D-C638-4F07-BDE1-8C5BCA3736FB}" type="sibTrans" cxnId="{1C11CD53-0BBB-470C-917C-982565DC30CC}">
      <dgm:prSet/>
      <dgm:spPr/>
      <dgm:t>
        <a:bodyPr/>
        <a:lstStyle/>
        <a:p>
          <a:endParaRPr lang="ru-RU"/>
        </a:p>
      </dgm:t>
    </dgm:pt>
    <dgm:pt modelId="{B091AD9C-1730-45F3-8C70-3A3D3EFA1359}">
      <dgm:prSet phldrT="[Текст]"/>
      <dgm:spPr/>
      <dgm:t>
        <a:bodyPr/>
        <a:lstStyle/>
        <a:p>
          <a:r>
            <a:rPr lang="ru-RU" dirty="0"/>
            <a:t>Отпускающие только льготные ЛП без оплаты, не имеющие ККТ – через РВ</a:t>
          </a:r>
        </a:p>
      </dgm:t>
    </dgm:pt>
    <dgm:pt modelId="{8DB3B53D-6C1B-4ACD-91E9-B35250C34116}" type="parTrans" cxnId="{4947F7EB-501A-49BD-8FFA-E894C894C758}">
      <dgm:prSet/>
      <dgm:spPr/>
      <dgm:t>
        <a:bodyPr/>
        <a:lstStyle/>
        <a:p>
          <a:endParaRPr lang="ru-RU"/>
        </a:p>
      </dgm:t>
    </dgm:pt>
    <dgm:pt modelId="{4A38E1D1-234A-407E-8A0D-7125BA88C1DA}" type="sibTrans" cxnId="{4947F7EB-501A-49BD-8FFA-E894C894C758}">
      <dgm:prSet/>
      <dgm:spPr/>
      <dgm:t>
        <a:bodyPr/>
        <a:lstStyle/>
        <a:p>
          <a:endParaRPr lang="ru-RU"/>
        </a:p>
      </dgm:t>
    </dgm:pt>
    <dgm:pt modelId="{AC8EF59A-187E-4EF8-84AF-A283EF7A3574}">
      <dgm:prSet phldrT="[Текст]"/>
      <dgm:spPr/>
      <dgm:t>
        <a:bodyPr/>
        <a:lstStyle/>
        <a:p>
          <a:r>
            <a:rPr lang="ru-RU" dirty="0"/>
            <a:t>Прочие – через ККТ (в том числе аптеки при больницах и поликлиниках)</a:t>
          </a:r>
        </a:p>
      </dgm:t>
    </dgm:pt>
    <dgm:pt modelId="{96D8F96A-2939-4641-8FD2-7E2751C0D258}" type="parTrans" cxnId="{7312355E-A0F4-4427-8071-F75A73521D45}">
      <dgm:prSet/>
      <dgm:spPr/>
      <dgm:t>
        <a:bodyPr/>
        <a:lstStyle/>
        <a:p>
          <a:endParaRPr lang="ru-RU"/>
        </a:p>
      </dgm:t>
    </dgm:pt>
    <dgm:pt modelId="{21BF3761-B925-4BF1-8430-29187E1CB8FE}" type="sibTrans" cxnId="{7312355E-A0F4-4427-8071-F75A73521D45}">
      <dgm:prSet/>
      <dgm:spPr/>
      <dgm:t>
        <a:bodyPr/>
        <a:lstStyle/>
        <a:p>
          <a:endParaRPr lang="ru-RU"/>
        </a:p>
      </dgm:t>
    </dgm:pt>
    <dgm:pt modelId="{0C653AE6-F611-4EA8-9553-47CD6C7F8E4D}">
      <dgm:prSet phldrT="[Текст]"/>
      <dgm:spPr>
        <a:solidFill>
          <a:srgbClr val="EFEB2E"/>
        </a:solidFill>
      </dgm:spPr>
      <dgm:t>
        <a:bodyPr/>
        <a:lstStyle/>
        <a:p>
          <a:r>
            <a:rPr lang="ru-RU" b="1" dirty="0">
              <a:solidFill>
                <a:srgbClr val="58595B"/>
              </a:solidFill>
            </a:rPr>
            <a:t>Медицинские организации для оказания медицинской помощи </a:t>
          </a:r>
        </a:p>
      </dgm:t>
    </dgm:pt>
    <dgm:pt modelId="{DD17DB10-1D1A-4433-A91A-0BD762C7B5B1}" type="parTrans" cxnId="{0D1BD712-267A-426B-A6A4-7ED7DFC53BEC}">
      <dgm:prSet/>
      <dgm:spPr/>
      <dgm:t>
        <a:bodyPr/>
        <a:lstStyle/>
        <a:p>
          <a:endParaRPr lang="ru-RU"/>
        </a:p>
      </dgm:t>
    </dgm:pt>
    <dgm:pt modelId="{C5A27D77-C2D6-4773-B8A4-869FE2D81F00}" type="sibTrans" cxnId="{0D1BD712-267A-426B-A6A4-7ED7DFC53BEC}">
      <dgm:prSet/>
      <dgm:spPr/>
      <dgm:t>
        <a:bodyPr/>
        <a:lstStyle/>
        <a:p>
          <a:endParaRPr lang="ru-RU"/>
        </a:p>
      </dgm:t>
    </dgm:pt>
    <dgm:pt modelId="{9897D10C-9EA6-41D3-9E4F-54CCB0188131}">
      <dgm:prSet phldrT="[Текст]"/>
      <dgm:spPr/>
      <dgm:t>
        <a:bodyPr/>
        <a:lstStyle/>
        <a:p>
          <a:r>
            <a:rPr lang="ru-RU" dirty="0"/>
            <a:t>РВ, подключенный к АРМ провизора больничной аптеки, или установленный в локальной сети организации, или установленный в ЦОД в случае централизованной ИТ-системы. Допускается автономный режим работы РВ</a:t>
          </a:r>
        </a:p>
      </dgm:t>
    </dgm:pt>
    <dgm:pt modelId="{7FD7BE29-C986-4F46-9A3C-3E428D8B84FC}" type="parTrans" cxnId="{C511F91E-0D7B-478D-B3AE-BE6E239AEC98}">
      <dgm:prSet/>
      <dgm:spPr/>
      <dgm:t>
        <a:bodyPr/>
        <a:lstStyle/>
        <a:p>
          <a:endParaRPr lang="ru-RU"/>
        </a:p>
      </dgm:t>
    </dgm:pt>
    <dgm:pt modelId="{59FAFE36-BD3B-4BCD-9324-421CB3937415}" type="sibTrans" cxnId="{C511F91E-0D7B-478D-B3AE-BE6E239AEC98}">
      <dgm:prSet/>
      <dgm:spPr/>
      <dgm:t>
        <a:bodyPr/>
        <a:lstStyle/>
        <a:p>
          <a:endParaRPr lang="ru-RU"/>
        </a:p>
      </dgm:t>
    </dgm:pt>
    <dgm:pt modelId="{4DEB1710-E1BE-4814-B08F-6BC9725591FC}">
      <dgm:prSet phldrT="[Текст]"/>
      <dgm:spPr/>
      <dgm:t>
        <a:bodyPr/>
        <a:lstStyle/>
        <a:p>
          <a:r>
            <a:rPr lang="ru-RU" dirty="0"/>
            <a:t>Сканеры </a:t>
          </a:r>
          <a:r>
            <a:rPr lang="en-US" dirty="0"/>
            <a:t>2D</a:t>
          </a:r>
          <a:r>
            <a:rPr lang="ru-RU" dirty="0"/>
            <a:t> штрихкодов на рабочих местах, при необходимости</a:t>
          </a:r>
        </a:p>
      </dgm:t>
    </dgm:pt>
    <dgm:pt modelId="{57AE9FEE-2ABB-4B93-ACEF-0AA721E578BA}" type="parTrans" cxnId="{BC1CE72A-200D-4B02-B28E-1303BDB84592}">
      <dgm:prSet/>
      <dgm:spPr/>
      <dgm:t>
        <a:bodyPr/>
        <a:lstStyle/>
        <a:p>
          <a:endParaRPr lang="ru-RU"/>
        </a:p>
      </dgm:t>
    </dgm:pt>
    <dgm:pt modelId="{76E77023-F370-4DA8-A07A-CB00ED4D2462}" type="sibTrans" cxnId="{BC1CE72A-200D-4B02-B28E-1303BDB84592}">
      <dgm:prSet/>
      <dgm:spPr/>
      <dgm:t>
        <a:bodyPr/>
        <a:lstStyle/>
        <a:p>
          <a:endParaRPr lang="ru-RU"/>
        </a:p>
      </dgm:t>
    </dgm:pt>
    <dgm:pt modelId="{66C8F5D4-C461-4744-A99C-DE3686481285}">
      <dgm:prSet phldrT="[Текст]"/>
      <dgm:spPr/>
      <dgm:t>
        <a:bodyPr/>
        <a:lstStyle/>
        <a:p>
          <a:r>
            <a:rPr lang="ru-RU" dirty="0"/>
            <a:t>Клиент </a:t>
          </a:r>
          <a:r>
            <a:rPr lang="ru-RU" dirty="0" err="1"/>
            <a:t>товароучетной</a:t>
          </a:r>
          <a:r>
            <a:rPr lang="ru-RU" dirty="0"/>
            <a:t> системы (удобно) или личный кабинет МДЛП (бесплатно)</a:t>
          </a:r>
        </a:p>
      </dgm:t>
    </dgm:pt>
    <dgm:pt modelId="{B237C744-E405-47CB-907A-8A41E322DD16}" type="parTrans" cxnId="{25759C45-764E-4270-AF88-A71278CEC80E}">
      <dgm:prSet/>
      <dgm:spPr/>
      <dgm:t>
        <a:bodyPr/>
        <a:lstStyle/>
        <a:p>
          <a:endParaRPr lang="ru-RU"/>
        </a:p>
      </dgm:t>
    </dgm:pt>
    <dgm:pt modelId="{A901AC20-F5C6-4EE8-B6A7-7608C72CDC4C}" type="sibTrans" cxnId="{25759C45-764E-4270-AF88-A71278CEC80E}">
      <dgm:prSet/>
      <dgm:spPr/>
      <dgm:t>
        <a:bodyPr/>
        <a:lstStyle/>
        <a:p>
          <a:endParaRPr lang="ru-RU"/>
        </a:p>
      </dgm:t>
    </dgm:pt>
    <dgm:pt modelId="{FFB0C42E-4465-40F4-BD89-DDBF32B56B81}">
      <dgm:prSet phldrT="[Текст]"/>
      <dgm:spPr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80010" rIns="80010" bIns="80010" numCol="1" spcCol="1270" anchor="ctr" anchorCtr="0"/>
        <a:lstStyle/>
        <a:p>
          <a:pPr>
            <a:buNone/>
          </a:pPr>
          <a:r>
            <a:rPr lang="ru-RU" b="1" dirty="0" err="1">
              <a:solidFill>
                <a:srgbClr val="58595B"/>
              </a:solidFill>
              <a:latin typeface="PT Sans Caption"/>
              <a:ea typeface="+mn-ea"/>
              <a:cs typeface="+mn-cs"/>
            </a:rPr>
            <a:t>ФАПы</a:t>
          </a:r>
          <a:r>
            <a:rPr lang="ru-RU" b="1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 и аптеки при них</a:t>
          </a:r>
        </a:p>
      </dgm:t>
    </dgm:pt>
    <dgm:pt modelId="{AC119C0D-C377-4F81-81C7-42BE950EE58E}" type="parTrans" cxnId="{FE53EB2E-5320-483D-BE7A-402D0F6113C8}">
      <dgm:prSet/>
      <dgm:spPr/>
      <dgm:t>
        <a:bodyPr/>
        <a:lstStyle/>
        <a:p>
          <a:endParaRPr lang="ru-RU"/>
        </a:p>
      </dgm:t>
    </dgm:pt>
    <dgm:pt modelId="{2E38A0B0-1399-4040-88C7-AE6350D01196}" type="sibTrans" cxnId="{FE53EB2E-5320-483D-BE7A-402D0F6113C8}">
      <dgm:prSet/>
      <dgm:spPr/>
      <dgm:t>
        <a:bodyPr/>
        <a:lstStyle/>
        <a:p>
          <a:endParaRPr lang="ru-RU"/>
        </a:p>
      </dgm:t>
    </dgm:pt>
    <dgm:pt modelId="{5768FB09-DA32-4A51-9197-3475A00DC048}">
      <dgm:prSet phldrT="[Текст]"/>
      <dgm:spPr>
        <a:noFill/>
        <a:ln>
          <a:noFill/>
        </a:ln>
        <a:effectLst/>
      </dgm:spPr>
      <dgm:t>
        <a:bodyPr spcFirstLastPara="0" vert="horz" wrap="square" lIns="355271" tIns="27940" rIns="156464" bIns="27940" numCol="1" spcCol="1270" anchor="t" anchorCtr="0"/>
        <a:lstStyle/>
        <a:p>
          <a:pPr>
            <a:buChar char="•"/>
          </a:pPr>
          <a:r>
            <a:rPr lang="ru-RU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Через ККТ (если есть)</a:t>
          </a:r>
        </a:p>
      </dgm:t>
    </dgm:pt>
    <dgm:pt modelId="{E55B548E-2845-490F-B78E-5CE7B589FA4C}" type="parTrans" cxnId="{F5F14065-E57D-4D00-9FE8-64C7D64DC6A3}">
      <dgm:prSet/>
      <dgm:spPr/>
      <dgm:t>
        <a:bodyPr/>
        <a:lstStyle/>
        <a:p>
          <a:endParaRPr lang="ru-RU"/>
        </a:p>
      </dgm:t>
    </dgm:pt>
    <dgm:pt modelId="{90A3795A-ED9F-4875-87C0-13E2F2CC2650}" type="sibTrans" cxnId="{F5F14065-E57D-4D00-9FE8-64C7D64DC6A3}">
      <dgm:prSet/>
      <dgm:spPr/>
      <dgm:t>
        <a:bodyPr/>
        <a:lstStyle/>
        <a:p>
          <a:endParaRPr lang="ru-RU"/>
        </a:p>
      </dgm:t>
    </dgm:pt>
    <dgm:pt modelId="{EF75D5E7-55F9-418D-B9EA-A151208AC28E}">
      <dgm:prSet phldrT="[Текст]"/>
      <dgm:spPr>
        <a:noFill/>
        <a:ln>
          <a:noFill/>
        </a:ln>
        <a:effectLst/>
      </dgm:spPr>
      <dgm:t>
        <a:bodyPr spcFirstLastPara="0" vert="horz" wrap="square" lIns="355271" tIns="27940" rIns="156464" bIns="27940" numCol="1" spcCol="1270" anchor="t" anchorCtr="0"/>
        <a:lstStyle/>
        <a:p>
          <a:pPr>
            <a:buChar char="•"/>
          </a:pPr>
          <a:r>
            <a:rPr lang="ru-RU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Через прямое обращение к МДЛП</a:t>
          </a:r>
          <a:r>
            <a:rPr lang="en-US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</a:t>
          </a:r>
          <a:r>
            <a:rPr lang="ru-RU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для розницы или вышестоящим подразделением через РВ (если в ФАП нет ККТ)</a:t>
          </a:r>
        </a:p>
      </dgm:t>
    </dgm:pt>
    <dgm:pt modelId="{8F1E89DB-80BC-4A9B-8ED2-3BFDF27E4AE6}" type="parTrans" cxnId="{87400551-906F-46C1-973D-83A6C1877A29}">
      <dgm:prSet/>
      <dgm:spPr/>
      <dgm:t>
        <a:bodyPr/>
        <a:lstStyle/>
        <a:p>
          <a:endParaRPr lang="ru-RU"/>
        </a:p>
      </dgm:t>
    </dgm:pt>
    <dgm:pt modelId="{7D4883A3-ABE0-455D-A155-7B41C95F0856}" type="sibTrans" cxnId="{87400551-906F-46C1-973D-83A6C1877A29}">
      <dgm:prSet/>
      <dgm:spPr/>
      <dgm:t>
        <a:bodyPr/>
        <a:lstStyle/>
        <a:p>
          <a:endParaRPr lang="ru-RU"/>
        </a:p>
      </dgm:t>
    </dgm:pt>
    <dgm:pt modelId="{A277089A-EF7E-4BAC-BBDF-DAFC066E6631}">
      <dgm:prSet phldrT="[Текст]"/>
      <dgm:spPr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68580" tIns="68580" rIns="68580" bIns="68580" numCol="1" spcCol="1270" anchor="ctr" anchorCtr="0"/>
        <a:lstStyle/>
        <a:p>
          <a:pPr>
            <a:buChar char="•"/>
          </a:pPr>
          <a:r>
            <a:rPr lang="ru-RU" b="1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очие</a:t>
          </a:r>
        </a:p>
      </dgm:t>
    </dgm:pt>
    <dgm:pt modelId="{D8EA9850-F857-4D9E-9916-D51A1EC83E6B}" type="parTrans" cxnId="{C10B38B1-C432-4398-8863-89F86C9E75F5}">
      <dgm:prSet/>
      <dgm:spPr/>
      <dgm:t>
        <a:bodyPr/>
        <a:lstStyle/>
        <a:p>
          <a:endParaRPr lang="ru-RU"/>
        </a:p>
      </dgm:t>
    </dgm:pt>
    <dgm:pt modelId="{DBF20DA5-705A-4A85-BDB2-3216166C2596}" type="sibTrans" cxnId="{C10B38B1-C432-4398-8863-89F86C9E75F5}">
      <dgm:prSet/>
      <dgm:spPr/>
      <dgm:t>
        <a:bodyPr/>
        <a:lstStyle/>
        <a:p>
          <a:endParaRPr lang="ru-RU"/>
        </a:p>
      </dgm:t>
    </dgm:pt>
    <dgm:pt modelId="{E8868B1D-5181-41F0-B6DC-23C753A394D7}">
      <dgm:prSet phldrT="[Текст]"/>
      <dgm:spPr>
        <a:noFill/>
        <a:ln>
          <a:noFill/>
        </a:ln>
        <a:effectLst/>
      </dgm:spPr>
      <dgm:t>
        <a:bodyPr spcFirstLastPara="0" vert="horz" wrap="square" lIns="355271" tIns="27940" rIns="156464" bIns="27940" numCol="1" spcCol="1270" anchor="t" anchorCtr="0"/>
        <a:lstStyle/>
        <a:p>
          <a:pPr>
            <a:buChar char="•"/>
          </a:pPr>
          <a:r>
            <a:rPr lang="ru-RU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и отгрузке отправителем через прямое обращение к МДЛП, без РВ или ККТ</a:t>
          </a:r>
        </a:p>
      </dgm:t>
    </dgm:pt>
    <dgm:pt modelId="{C519C053-7ADD-4482-BE29-317AA835570E}" type="parTrans" cxnId="{E7FCB913-0D18-4EC9-894C-F43FB672B7C4}">
      <dgm:prSet/>
      <dgm:spPr/>
      <dgm:t>
        <a:bodyPr/>
        <a:lstStyle/>
        <a:p>
          <a:endParaRPr lang="ru-RU"/>
        </a:p>
      </dgm:t>
    </dgm:pt>
    <dgm:pt modelId="{6EB21795-68C8-413B-9149-AA4A25E5BFCC}" type="sibTrans" cxnId="{E7FCB913-0D18-4EC9-894C-F43FB672B7C4}">
      <dgm:prSet/>
      <dgm:spPr/>
      <dgm:t>
        <a:bodyPr/>
        <a:lstStyle/>
        <a:p>
          <a:endParaRPr lang="ru-RU"/>
        </a:p>
      </dgm:t>
    </dgm:pt>
    <dgm:pt modelId="{BCF49CE7-68F4-4C05-8BB5-9197D96B1982}">
      <dgm:prSet phldrT="[Текст]"/>
      <dgm:spPr>
        <a:noFill/>
        <a:ln>
          <a:noFill/>
        </a:ln>
        <a:effectLst/>
      </dgm:spPr>
      <dgm:t>
        <a:bodyPr/>
        <a:lstStyle/>
        <a:p>
          <a:pPr>
            <a:buChar char="•"/>
          </a:pPr>
          <a:r>
            <a:rPr lang="ru-RU" b="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Труднодоступные и отдаленные от сетей связи местности (списки Минсвязи и Правительств регионов), медкабинеты в образовательных учреждениях, смотровые кабинеты на </a:t>
          </a:r>
          <a:r>
            <a:rPr lang="ru-RU" b="0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предприятиях</a:t>
          </a:r>
          <a:r>
            <a:rPr lang="ru-RU" b="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, косметические салоны…</a:t>
          </a:r>
        </a:p>
      </dgm:t>
    </dgm:pt>
    <dgm:pt modelId="{C0E8AB12-207A-4EF0-BEDC-17D8006C0984}" type="parTrans" cxnId="{CE633066-43E6-4384-A6B3-C556FE8D8CF5}">
      <dgm:prSet/>
      <dgm:spPr/>
      <dgm:t>
        <a:bodyPr/>
        <a:lstStyle/>
        <a:p>
          <a:endParaRPr lang="ru-RU"/>
        </a:p>
      </dgm:t>
    </dgm:pt>
    <dgm:pt modelId="{76570188-C663-4278-B3FC-6CD3ECBE7F7D}" type="sibTrans" cxnId="{CE633066-43E6-4384-A6B3-C556FE8D8CF5}">
      <dgm:prSet/>
      <dgm:spPr/>
      <dgm:t>
        <a:bodyPr/>
        <a:lstStyle/>
        <a:p>
          <a:endParaRPr lang="ru-RU"/>
        </a:p>
      </dgm:t>
    </dgm:pt>
    <dgm:pt modelId="{FF7C38D8-4B5F-497C-B37F-27E0145087B7}">
      <dgm:prSet phldrT="[Текст]"/>
      <dgm:spPr/>
      <dgm:t>
        <a:bodyPr/>
        <a:lstStyle/>
        <a:p>
          <a:r>
            <a:rPr lang="ru-RU" dirty="0"/>
            <a:t>Аптеки в отдаленных от сетей связи или труднодоступных местностях – через </a:t>
          </a:r>
          <a:r>
            <a:rPr lang="ru-RU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ямое обращение к МДЛП</a:t>
          </a:r>
          <a:r>
            <a:rPr lang="en-US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</a:t>
          </a:r>
          <a:endParaRPr lang="ru-RU" dirty="0"/>
        </a:p>
      </dgm:t>
    </dgm:pt>
    <dgm:pt modelId="{71F41AA0-4068-46ED-B51C-71BE04DAB746}" type="parTrans" cxnId="{DEA79662-4951-4A91-917B-83218C43D3D8}">
      <dgm:prSet/>
      <dgm:spPr/>
      <dgm:t>
        <a:bodyPr/>
        <a:lstStyle/>
        <a:p>
          <a:endParaRPr lang="ru-RU"/>
        </a:p>
      </dgm:t>
    </dgm:pt>
    <dgm:pt modelId="{90A84F37-5FAE-40C1-B099-B47591A0F288}" type="sibTrans" cxnId="{DEA79662-4951-4A91-917B-83218C43D3D8}">
      <dgm:prSet/>
      <dgm:spPr/>
      <dgm:t>
        <a:bodyPr/>
        <a:lstStyle/>
        <a:p>
          <a:endParaRPr lang="ru-RU"/>
        </a:p>
      </dgm:t>
    </dgm:pt>
    <dgm:pt modelId="{4ADE554E-60CB-429C-976F-5B92802F0897}" type="pres">
      <dgm:prSet presAssocID="{982F8AF4-4CBC-4AB6-A2A2-B0F3EF039211}" presName="linear" presStyleCnt="0">
        <dgm:presLayoutVars>
          <dgm:animLvl val="lvl"/>
          <dgm:resizeHandles val="exact"/>
        </dgm:presLayoutVars>
      </dgm:prSet>
      <dgm:spPr/>
    </dgm:pt>
    <dgm:pt modelId="{AE4812DB-8499-4208-A007-FF2E8764283D}" type="pres">
      <dgm:prSet presAssocID="{BA8F8CD4-4453-402F-9903-44C0B4FF1F15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65C3D534-82FA-4D0A-910A-2A82E8A866D8}" type="pres">
      <dgm:prSet presAssocID="{BA8F8CD4-4453-402F-9903-44C0B4FF1F15}" presName="childText" presStyleLbl="revTx" presStyleIdx="0" presStyleCnt="4">
        <dgm:presLayoutVars>
          <dgm:bulletEnabled val="1"/>
        </dgm:presLayoutVars>
      </dgm:prSet>
      <dgm:spPr/>
    </dgm:pt>
    <dgm:pt modelId="{19911EC7-65D6-466D-96EE-53C9172D758B}" type="pres">
      <dgm:prSet presAssocID="{0C653AE6-F611-4EA8-9553-47CD6C7F8E4D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932D7A56-44CC-4119-8ADE-C5D15F0193CA}" type="pres">
      <dgm:prSet presAssocID="{0C653AE6-F611-4EA8-9553-47CD6C7F8E4D}" presName="childText" presStyleLbl="revTx" presStyleIdx="1" presStyleCnt="4">
        <dgm:presLayoutVars>
          <dgm:bulletEnabled val="1"/>
        </dgm:presLayoutVars>
      </dgm:prSet>
      <dgm:spPr/>
    </dgm:pt>
    <dgm:pt modelId="{CC39DD98-50C2-4DC4-B627-872F914ED6C1}" type="pres">
      <dgm:prSet presAssocID="{FFB0C42E-4465-40F4-BD89-DDBF32B56B81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42A464CC-C336-4F11-8120-0B0C98EE3B34}" type="pres">
      <dgm:prSet presAssocID="{FFB0C42E-4465-40F4-BD89-DDBF32B56B81}" presName="childText" presStyleLbl="revTx" presStyleIdx="2" presStyleCnt="4">
        <dgm:presLayoutVars>
          <dgm:bulletEnabled val="1"/>
        </dgm:presLayoutVars>
      </dgm:prSet>
      <dgm:spPr/>
    </dgm:pt>
    <dgm:pt modelId="{5895881C-E7E7-4236-A309-7B2461BE0F9C}" type="pres">
      <dgm:prSet presAssocID="{A277089A-EF7E-4BAC-BBDF-DAFC066E6631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47DAFF1A-D268-4C30-952D-334492E4B994}" type="pres">
      <dgm:prSet presAssocID="{A277089A-EF7E-4BAC-BBDF-DAFC066E6631}" presName="childText" presStyleLbl="revTx" presStyleIdx="3" presStyleCnt="4">
        <dgm:presLayoutVars>
          <dgm:bulletEnabled val="1"/>
        </dgm:presLayoutVars>
      </dgm:prSet>
      <dgm:spPr/>
    </dgm:pt>
  </dgm:ptLst>
  <dgm:cxnLst>
    <dgm:cxn modelId="{5BB50304-9F9C-4C08-A6B0-924F66AF87FF}" type="presOf" srcId="{EF75D5E7-55F9-418D-B9EA-A151208AC28E}" destId="{42A464CC-C336-4F11-8120-0B0C98EE3B34}" srcOrd="0" destOrd="1" presId="urn:microsoft.com/office/officeart/2005/8/layout/vList2"/>
    <dgm:cxn modelId="{C04EDC0A-4FEC-4CC8-B34F-DEDE65C0178F}" type="presOf" srcId="{A277089A-EF7E-4BAC-BBDF-DAFC066E6631}" destId="{5895881C-E7E7-4236-A309-7B2461BE0F9C}" srcOrd="0" destOrd="0" presId="urn:microsoft.com/office/officeart/2005/8/layout/vList2"/>
    <dgm:cxn modelId="{91F18410-9691-4D82-98C5-CC737503B559}" type="presOf" srcId="{E8868B1D-5181-41F0-B6DC-23C753A394D7}" destId="{47DAFF1A-D268-4C30-952D-334492E4B994}" srcOrd="0" destOrd="1" presId="urn:microsoft.com/office/officeart/2005/8/layout/vList2"/>
    <dgm:cxn modelId="{0D1BD712-267A-426B-A6A4-7ED7DFC53BEC}" srcId="{982F8AF4-4CBC-4AB6-A2A2-B0F3EF039211}" destId="{0C653AE6-F611-4EA8-9553-47CD6C7F8E4D}" srcOrd="1" destOrd="0" parTransId="{DD17DB10-1D1A-4433-A91A-0BD762C7B5B1}" sibTransId="{C5A27D77-C2D6-4773-B8A4-869FE2D81F00}"/>
    <dgm:cxn modelId="{E7FCB913-0D18-4EC9-894C-F43FB672B7C4}" srcId="{A277089A-EF7E-4BAC-BBDF-DAFC066E6631}" destId="{E8868B1D-5181-41F0-B6DC-23C753A394D7}" srcOrd="1" destOrd="0" parTransId="{C519C053-7ADD-4482-BE29-317AA835570E}" sibTransId="{6EB21795-68C8-413B-9149-AA4A25E5BFCC}"/>
    <dgm:cxn modelId="{6388C016-CE2A-45E0-B946-22DC3CED8F4F}" type="presOf" srcId="{FF7C38D8-4B5F-497C-B37F-27E0145087B7}" destId="{65C3D534-82FA-4D0A-910A-2A82E8A866D8}" srcOrd="0" destOrd="2" presId="urn:microsoft.com/office/officeart/2005/8/layout/vList2"/>
    <dgm:cxn modelId="{C511F91E-0D7B-478D-B3AE-BE6E239AEC98}" srcId="{0C653AE6-F611-4EA8-9553-47CD6C7F8E4D}" destId="{9897D10C-9EA6-41D3-9E4F-54CCB0188131}" srcOrd="0" destOrd="0" parTransId="{7FD7BE29-C986-4F46-9A3C-3E428D8B84FC}" sibTransId="{59FAFE36-BD3B-4BCD-9324-421CB3937415}"/>
    <dgm:cxn modelId="{BC1CE72A-200D-4B02-B28E-1303BDB84592}" srcId="{0C653AE6-F611-4EA8-9553-47CD6C7F8E4D}" destId="{4DEB1710-E1BE-4814-B08F-6BC9725591FC}" srcOrd="1" destOrd="0" parTransId="{57AE9FEE-2ABB-4B93-ACEF-0AA721E578BA}" sibTransId="{76E77023-F370-4DA8-A07A-CB00ED4D2462}"/>
    <dgm:cxn modelId="{FE53EB2E-5320-483D-BE7A-402D0F6113C8}" srcId="{982F8AF4-4CBC-4AB6-A2A2-B0F3EF039211}" destId="{FFB0C42E-4465-40F4-BD89-DDBF32B56B81}" srcOrd="2" destOrd="0" parTransId="{AC119C0D-C377-4F81-81C7-42BE950EE58E}" sibTransId="{2E38A0B0-1399-4040-88C7-AE6350D01196}"/>
    <dgm:cxn modelId="{C8254F33-64B7-4DCD-A0AB-9819AAA70B5C}" type="presOf" srcId="{BA8F8CD4-4453-402F-9903-44C0B4FF1F15}" destId="{AE4812DB-8499-4208-A007-FF2E8764283D}" srcOrd="0" destOrd="0" presId="urn:microsoft.com/office/officeart/2005/8/layout/vList2"/>
    <dgm:cxn modelId="{B2668B38-C48B-424E-B83C-357678BA8DCA}" type="presOf" srcId="{982F8AF4-4CBC-4AB6-A2A2-B0F3EF039211}" destId="{4ADE554E-60CB-429C-976F-5B92802F0897}" srcOrd="0" destOrd="0" presId="urn:microsoft.com/office/officeart/2005/8/layout/vList2"/>
    <dgm:cxn modelId="{7312355E-A0F4-4427-8071-F75A73521D45}" srcId="{BA8F8CD4-4453-402F-9903-44C0B4FF1F15}" destId="{AC8EF59A-187E-4EF8-84AF-A283EF7A3574}" srcOrd="1" destOrd="0" parTransId="{96D8F96A-2939-4641-8FD2-7E2751C0D258}" sibTransId="{21BF3761-B925-4BF1-8430-29187E1CB8FE}"/>
    <dgm:cxn modelId="{DEA79662-4951-4A91-917B-83218C43D3D8}" srcId="{BA8F8CD4-4453-402F-9903-44C0B4FF1F15}" destId="{FF7C38D8-4B5F-497C-B37F-27E0145087B7}" srcOrd="2" destOrd="0" parTransId="{71F41AA0-4068-46ED-B51C-71BE04DAB746}" sibTransId="{90A84F37-5FAE-40C1-B099-B47591A0F288}"/>
    <dgm:cxn modelId="{F5F14065-E57D-4D00-9FE8-64C7D64DC6A3}" srcId="{FFB0C42E-4465-40F4-BD89-DDBF32B56B81}" destId="{5768FB09-DA32-4A51-9197-3475A00DC048}" srcOrd="0" destOrd="0" parTransId="{E55B548E-2845-490F-B78E-5CE7B589FA4C}" sibTransId="{90A3795A-ED9F-4875-87C0-13E2F2CC2650}"/>
    <dgm:cxn modelId="{25759C45-764E-4270-AF88-A71278CEC80E}" srcId="{0C653AE6-F611-4EA8-9553-47CD6C7F8E4D}" destId="{66C8F5D4-C461-4744-A99C-DE3686481285}" srcOrd="2" destOrd="0" parTransId="{B237C744-E405-47CB-907A-8A41E322DD16}" sibTransId="{A901AC20-F5C6-4EE8-B6A7-7608C72CDC4C}"/>
    <dgm:cxn modelId="{CE633066-43E6-4384-A6B3-C556FE8D8CF5}" srcId="{A277089A-EF7E-4BAC-BBDF-DAFC066E6631}" destId="{BCF49CE7-68F4-4C05-8BB5-9197D96B1982}" srcOrd="0" destOrd="0" parTransId="{C0E8AB12-207A-4EF0-BEDC-17D8006C0984}" sibTransId="{76570188-C663-4278-B3FC-6CD3ECBE7F7D}"/>
    <dgm:cxn modelId="{87400551-906F-46C1-973D-83A6C1877A29}" srcId="{FFB0C42E-4465-40F4-BD89-DDBF32B56B81}" destId="{EF75D5E7-55F9-418D-B9EA-A151208AC28E}" srcOrd="1" destOrd="0" parTransId="{8F1E89DB-80BC-4A9B-8ED2-3BFDF27E4AE6}" sibTransId="{7D4883A3-ABE0-455D-A155-7B41C95F0856}"/>
    <dgm:cxn modelId="{F68D0C51-FC7D-45E6-B7F3-34BC5AA652C6}" type="presOf" srcId="{9897D10C-9EA6-41D3-9E4F-54CCB0188131}" destId="{932D7A56-44CC-4119-8ADE-C5D15F0193CA}" srcOrd="0" destOrd="0" presId="urn:microsoft.com/office/officeart/2005/8/layout/vList2"/>
    <dgm:cxn modelId="{1C11CD53-0BBB-470C-917C-982565DC30CC}" srcId="{982F8AF4-4CBC-4AB6-A2A2-B0F3EF039211}" destId="{BA8F8CD4-4453-402F-9903-44C0B4FF1F15}" srcOrd="0" destOrd="0" parTransId="{B37E0C5F-84C1-4D55-AC37-C68AC188E47B}" sibTransId="{9F49064D-C638-4F07-BDE1-8C5BCA3736FB}"/>
    <dgm:cxn modelId="{A4B36886-C924-4766-A70F-16A1461EFD19}" type="presOf" srcId="{0C653AE6-F611-4EA8-9553-47CD6C7F8E4D}" destId="{19911EC7-65D6-466D-96EE-53C9172D758B}" srcOrd="0" destOrd="0" presId="urn:microsoft.com/office/officeart/2005/8/layout/vList2"/>
    <dgm:cxn modelId="{771AB492-6343-4406-8D08-2FC7C35052FE}" type="presOf" srcId="{66C8F5D4-C461-4744-A99C-DE3686481285}" destId="{932D7A56-44CC-4119-8ADE-C5D15F0193CA}" srcOrd="0" destOrd="2" presId="urn:microsoft.com/office/officeart/2005/8/layout/vList2"/>
    <dgm:cxn modelId="{AAD5BEA6-623D-42DA-AE43-A2C5D9988C51}" type="presOf" srcId="{4DEB1710-E1BE-4814-B08F-6BC9725591FC}" destId="{932D7A56-44CC-4119-8ADE-C5D15F0193CA}" srcOrd="0" destOrd="1" presId="urn:microsoft.com/office/officeart/2005/8/layout/vList2"/>
    <dgm:cxn modelId="{5E2964A7-C35E-45D5-ABA3-4F4A5D6D8277}" type="presOf" srcId="{FFB0C42E-4465-40F4-BD89-DDBF32B56B81}" destId="{CC39DD98-50C2-4DC4-B627-872F914ED6C1}" srcOrd="0" destOrd="0" presId="urn:microsoft.com/office/officeart/2005/8/layout/vList2"/>
    <dgm:cxn modelId="{C10B38B1-C432-4398-8863-89F86C9E75F5}" srcId="{982F8AF4-4CBC-4AB6-A2A2-B0F3EF039211}" destId="{A277089A-EF7E-4BAC-BBDF-DAFC066E6631}" srcOrd="3" destOrd="0" parTransId="{D8EA9850-F857-4D9E-9916-D51A1EC83E6B}" sibTransId="{DBF20DA5-705A-4A85-BDB2-3216166C2596}"/>
    <dgm:cxn modelId="{D7065DB6-CA50-4AF7-9625-0FD4ECDAF3C8}" type="presOf" srcId="{5768FB09-DA32-4A51-9197-3475A00DC048}" destId="{42A464CC-C336-4F11-8120-0B0C98EE3B34}" srcOrd="0" destOrd="0" presId="urn:microsoft.com/office/officeart/2005/8/layout/vList2"/>
    <dgm:cxn modelId="{2B8F8FC2-DFE8-445A-B97F-B6276B71AC52}" type="presOf" srcId="{B091AD9C-1730-45F3-8C70-3A3D3EFA1359}" destId="{65C3D534-82FA-4D0A-910A-2A82E8A866D8}" srcOrd="0" destOrd="0" presId="urn:microsoft.com/office/officeart/2005/8/layout/vList2"/>
    <dgm:cxn modelId="{846438DE-5ED1-4D42-B1AE-BA79F0E34DFE}" type="presOf" srcId="{BCF49CE7-68F4-4C05-8BB5-9197D96B1982}" destId="{47DAFF1A-D268-4C30-952D-334492E4B994}" srcOrd="0" destOrd="0" presId="urn:microsoft.com/office/officeart/2005/8/layout/vList2"/>
    <dgm:cxn modelId="{4947F7EB-501A-49BD-8FFA-E894C894C758}" srcId="{BA8F8CD4-4453-402F-9903-44C0B4FF1F15}" destId="{B091AD9C-1730-45F3-8C70-3A3D3EFA1359}" srcOrd="0" destOrd="0" parTransId="{8DB3B53D-6C1B-4ACD-91E9-B35250C34116}" sibTransId="{4A38E1D1-234A-407E-8A0D-7125BA88C1DA}"/>
    <dgm:cxn modelId="{2FEE9CFD-71FF-4DFF-83CA-A52DEC855550}" type="presOf" srcId="{AC8EF59A-187E-4EF8-84AF-A283EF7A3574}" destId="{65C3D534-82FA-4D0A-910A-2A82E8A866D8}" srcOrd="0" destOrd="1" presId="urn:microsoft.com/office/officeart/2005/8/layout/vList2"/>
    <dgm:cxn modelId="{B5F50E30-8CCC-45E0-97BD-F0E0F2938083}" type="presParOf" srcId="{4ADE554E-60CB-429C-976F-5B92802F0897}" destId="{AE4812DB-8499-4208-A007-FF2E8764283D}" srcOrd="0" destOrd="0" presId="urn:microsoft.com/office/officeart/2005/8/layout/vList2"/>
    <dgm:cxn modelId="{A9C80514-3359-4D82-B921-128232CB9B36}" type="presParOf" srcId="{4ADE554E-60CB-429C-976F-5B92802F0897}" destId="{65C3D534-82FA-4D0A-910A-2A82E8A866D8}" srcOrd="1" destOrd="0" presId="urn:microsoft.com/office/officeart/2005/8/layout/vList2"/>
    <dgm:cxn modelId="{9026D274-7C1D-4FFF-AB8B-2C472D056551}" type="presParOf" srcId="{4ADE554E-60CB-429C-976F-5B92802F0897}" destId="{19911EC7-65D6-466D-96EE-53C9172D758B}" srcOrd="2" destOrd="0" presId="urn:microsoft.com/office/officeart/2005/8/layout/vList2"/>
    <dgm:cxn modelId="{BC0CB18F-C4DA-4143-9E5D-874E459ADDE0}" type="presParOf" srcId="{4ADE554E-60CB-429C-976F-5B92802F0897}" destId="{932D7A56-44CC-4119-8ADE-C5D15F0193CA}" srcOrd="3" destOrd="0" presId="urn:microsoft.com/office/officeart/2005/8/layout/vList2"/>
    <dgm:cxn modelId="{6FDD67CE-F673-4BBE-A122-AA7C1962EB58}" type="presParOf" srcId="{4ADE554E-60CB-429C-976F-5B92802F0897}" destId="{CC39DD98-50C2-4DC4-B627-872F914ED6C1}" srcOrd="4" destOrd="0" presId="urn:microsoft.com/office/officeart/2005/8/layout/vList2"/>
    <dgm:cxn modelId="{A00D473F-A5E7-4DA2-9963-EBCC2BC1C9E2}" type="presParOf" srcId="{4ADE554E-60CB-429C-976F-5B92802F0897}" destId="{42A464CC-C336-4F11-8120-0B0C98EE3B34}" srcOrd="5" destOrd="0" presId="urn:microsoft.com/office/officeart/2005/8/layout/vList2"/>
    <dgm:cxn modelId="{2866CB92-D669-4D86-A04A-E2250039E45E}" type="presParOf" srcId="{4ADE554E-60CB-429C-976F-5B92802F0897}" destId="{5895881C-E7E7-4236-A309-7B2461BE0F9C}" srcOrd="6" destOrd="0" presId="urn:microsoft.com/office/officeart/2005/8/layout/vList2"/>
    <dgm:cxn modelId="{632B26B8-E92B-4531-A434-71B9BB0222C4}" type="presParOf" srcId="{4ADE554E-60CB-429C-976F-5B92802F0897}" destId="{47DAFF1A-D268-4C30-952D-334492E4B994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82F8AF4-4CBC-4AB6-A2A2-B0F3EF03921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8F8CD4-4453-402F-9903-44C0B4FF1F15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1 льготный рецепт = 1 чек</a:t>
          </a:r>
          <a:endParaRPr lang="ru-RU" sz="2300" dirty="0"/>
        </a:p>
      </dgm:t>
    </dgm:pt>
    <dgm:pt modelId="{B37E0C5F-84C1-4D55-AC37-C68AC188E47B}" type="parTrans" cxnId="{1C11CD53-0BBB-470C-917C-982565DC30CC}">
      <dgm:prSet/>
      <dgm:spPr/>
      <dgm:t>
        <a:bodyPr/>
        <a:lstStyle/>
        <a:p>
          <a:endParaRPr lang="ru-RU"/>
        </a:p>
      </dgm:t>
    </dgm:pt>
    <dgm:pt modelId="{9F49064D-C638-4F07-BDE1-8C5BCA3736FB}" type="sibTrans" cxnId="{1C11CD53-0BBB-470C-917C-982565DC30CC}">
      <dgm:prSet/>
      <dgm:spPr/>
      <dgm:t>
        <a:bodyPr/>
        <a:lstStyle/>
        <a:p>
          <a:endParaRPr lang="ru-RU"/>
        </a:p>
      </dgm:t>
    </dgm:pt>
    <dgm:pt modelId="{0C653AE6-F611-4EA8-9553-47CD6C7F8E4D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Материалы и услуги отдельно</a:t>
          </a:r>
        </a:p>
      </dgm:t>
    </dgm:pt>
    <dgm:pt modelId="{DD17DB10-1D1A-4433-A91A-0BD762C7B5B1}" type="parTrans" cxnId="{0D1BD712-267A-426B-A6A4-7ED7DFC53BEC}">
      <dgm:prSet/>
      <dgm:spPr/>
      <dgm:t>
        <a:bodyPr/>
        <a:lstStyle/>
        <a:p>
          <a:endParaRPr lang="ru-RU"/>
        </a:p>
      </dgm:t>
    </dgm:pt>
    <dgm:pt modelId="{C5A27D77-C2D6-4773-B8A4-869FE2D81F00}" type="sibTrans" cxnId="{0D1BD712-267A-426B-A6A4-7ED7DFC53BEC}">
      <dgm:prSet/>
      <dgm:spPr/>
      <dgm:t>
        <a:bodyPr/>
        <a:lstStyle/>
        <a:p>
          <a:endParaRPr lang="ru-RU"/>
        </a:p>
      </dgm:t>
    </dgm:pt>
    <dgm:pt modelId="{FFB0C42E-4465-40F4-BD89-DDBF32B56B81}">
      <dgm:prSet phldrT="[Текст]" custT="1"/>
      <dgm:spPr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80010" rIns="80010" bIns="80010" numCol="1" spcCol="1270" anchor="ctr" anchorCtr="0"/>
        <a:lstStyle/>
        <a:p>
          <a:pPr>
            <a:buNone/>
          </a:pPr>
          <a:r>
            <a:rPr lang="ru-RU" sz="2300" b="1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1 упаковка = 1 позиция чека</a:t>
          </a:r>
        </a:p>
      </dgm:t>
    </dgm:pt>
    <dgm:pt modelId="{AC119C0D-C377-4F81-81C7-42BE950EE58E}" type="parTrans" cxnId="{FE53EB2E-5320-483D-BE7A-402D0F6113C8}">
      <dgm:prSet/>
      <dgm:spPr/>
      <dgm:t>
        <a:bodyPr/>
        <a:lstStyle/>
        <a:p>
          <a:endParaRPr lang="ru-RU"/>
        </a:p>
      </dgm:t>
    </dgm:pt>
    <dgm:pt modelId="{2E38A0B0-1399-4040-88C7-AE6350D01196}" type="sibTrans" cxnId="{FE53EB2E-5320-483D-BE7A-402D0F6113C8}">
      <dgm:prSet/>
      <dgm:spPr/>
      <dgm:t>
        <a:bodyPr/>
        <a:lstStyle/>
        <a:p>
          <a:endParaRPr lang="ru-RU"/>
        </a:p>
      </dgm:t>
    </dgm:pt>
    <dgm:pt modelId="{D541833F-F9AC-4B6C-9081-E829958EB608}">
      <dgm:prSet phldrT="[Текст]" custT="1"/>
      <dgm:spPr>
        <a:noFill/>
        <a:ln>
          <a:noFill/>
        </a:ln>
        <a:effectLst/>
      </dgm:spPr>
      <dgm:t>
        <a:bodyPr spcFirstLastPara="0" vert="horz" wrap="square" lIns="355271" tIns="27940" rIns="156464" bIns="27940" numCol="1" spcCol="1270" anchor="t" anchorCtr="0"/>
        <a:lstStyle/>
        <a:p>
          <a:pPr>
            <a:buChar char="•"/>
          </a:pPr>
          <a:r>
            <a:rPr lang="ru-RU" sz="18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Нельзя отсканировать 1 код и ввести количество – каждый код упаковки индивидуален</a:t>
          </a:r>
        </a:p>
      </dgm:t>
    </dgm:pt>
    <dgm:pt modelId="{C59DB957-6271-440F-BB76-1F12B006A414}" type="parTrans" cxnId="{A2016917-8C6D-456E-942F-6187629CFB69}">
      <dgm:prSet/>
      <dgm:spPr/>
      <dgm:t>
        <a:bodyPr/>
        <a:lstStyle/>
        <a:p>
          <a:endParaRPr lang="ru-RU"/>
        </a:p>
      </dgm:t>
    </dgm:pt>
    <dgm:pt modelId="{7C813FF6-BC40-4AEE-853A-665FF8617BDD}" type="sibTrans" cxnId="{A2016917-8C6D-456E-942F-6187629CFB69}">
      <dgm:prSet/>
      <dgm:spPr/>
      <dgm:t>
        <a:bodyPr/>
        <a:lstStyle/>
        <a:p>
          <a:endParaRPr lang="ru-RU"/>
        </a:p>
      </dgm:t>
    </dgm:pt>
    <dgm:pt modelId="{C91B0F85-CA5E-4D74-B417-1E699935C24B}">
      <dgm:prSet phldrT="[Текст]" custT="1"/>
      <dgm:spPr/>
      <dgm:t>
        <a:bodyPr/>
        <a:lstStyle/>
        <a:p>
          <a:r>
            <a:rPr lang="ru-RU" sz="1800" dirty="0"/>
            <a:t>При использовании ЛП в качестве материалов при оказании услуг, использованные ЛП должны быть указаны отдельными позициями кассового чека (БСО) с ненулевой ценой для корректного учета вывода их из оборота в МДЛП. Выделять ЛП в отдельный чек в этом случае не требуется</a:t>
          </a:r>
        </a:p>
      </dgm:t>
    </dgm:pt>
    <dgm:pt modelId="{0D1866D6-2FF3-4F3B-9FF0-5EFA374B1689}" type="parTrans" cxnId="{CC9A6009-D352-44A6-8F1D-CE2200E4679D}">
      <dgm:prSet/>
      <dgm:spPr/>
      <dgm:t>
        <a:bodyPr/>
        <a:lstStyle/>
        <a:p>
          <a:endParaRPr lang="ru-RU"/>
        </a:p>
      </dgm:t>
    </dgm:pt>
    <dgm:pt modelId="{55A278E0-DCAB-425E-875E-081CEC4D2A33}" type="sibTrans" cxnId="{CC9A6009-D352-44A6-8F1D-CE2200E4679D}">
      <dgm:prSet/>
      <dgm:spPr/>
      <dgm:t>
        <a:bodyPr/>
        <a:lstStyle/>
        <a:p>
          <a:endParaRPr lang="ru-RU"/>
        </a:p>
      </dgm:t>
    </dgm:pt>
    <dgm:pt modelId="{DE7D34A8-D2B5-4D7B-846B-55B6543E8EC4}">
      <dgm:prSet phldrT="[Текст]" custT="1"/>
      <dgm:spPr/>
      <dgm:t>
        <a:bodyPr/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и формировании кассовых документов кассовый чек (БСО), содержащий реквизиты льготного рецепта, формируется только для одного конкретного льготного рецепта. Для передачи данных о не дотируемых ЛП из того же рецепта, а также для иных товаров, должен быть сформирован отдельный чек.</a:t>
          </a:r>
        </a:p>
      </dgm:t>
    </dgm:pt>
    <dgm:pt modelId="{8DF48021-4EC2-48F2-BC28-C93D576F9761}" type="parTrans" cxnId="{EA1832D7-E68E-4408-8EFB-BC2DDFF06860}">
      <dgm:prSet/>
      <dgm:spPr/>
      <dgm:t>
        <a:bodyPr/>
        <a:lstStyle/>
        <a:p>
          <a:endParaRPr lang="ru-RU"/>
        </a:p>
      </dgm:t>
    </dgm:pt>
    <dgm:pt modelId="{FA22E24F-48AD-4E69-9C68-8E622526137F}" type="sibTrans" cxnId="{EA1832D7-E68E-4408-8EFB-BC2DDFF06860}">
      <dgm:prSet/>
      <dgm:spPr/>
      <dgm:t>
        <a:bodyPr/>
        <a:lstStyle/>
        <a:p>
          <a:endParaRPr lang="ru-RU"/>
        </a:p>
      </dgm:t>
    </dgm:pt>
    <dgm:pt modelId="{6C653BA2-EA05-4861-813E-B4C8845211B6}">
      <dgm:prSet phldrT="[Текст]" custT="1"/>
      <dgm:spPr/>
      <dgm:t>
        <a:bodyPr/>
        <a:lstStyle/>
        <a:p>
          <a:endParaRPr lang="ru-RU" sz="1800" dirty="0"/>
        </a:p>
      </dgm:t>
    </dgm:pt>
    <dgm:pt modelId="{82EE18D3-F99F-4DB5-8726-A13EB6D195EB}" type="parTrans" cxnId="{3E7B817F-3693-410A-B537-7E21A5789996}">
      <dgm:prSet/>
      <dgm:spPr/>
      <dgm:t>
        <a:bodyPr/>
        <a:lstStyle/>
        <a:p>
          <a:endParaRPr lang="ru-RU"/>
        </a:p>
      </dgm:t>
    </dgm:pt>
    <dgm:pt modelId="{200E68F7-48BA-4D00-AA24-27EA256E78F9}" type="sibTrans" cxnId="{3E7B817F-3693-410A-B537-7E21A5789996}">
      <dgm:prSet/>
      <dgm:spPr/>
      <dgm:t>
        <a:bodyPr/>
        <a:lstStyle/>
        <a:p>
          <a:endParaRPr lang="ru-RU"/>
        </a:p>
      </dgm:t>
    </dgm:pt>
    <dgm:pt modelId="{A6809339-A833-4240-8112-905A87D04AC6}">
      <dgm:prSet phldrT="[Текст]" custT="1"/>
      <dgm:spPr/>
      <dgm:t>
        <a:bodyPr/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</dgm:t>
    </dgm:pt>
    <dgm:pt modelId="{ECE07737-6656-457C-B04C-3CA7F5DB986D}" type="parTrans" cxnId="{E32E85BF-197F-461A-A380-5C0772C34315}">
      <dgm:prSet/>
      <dgm:spPr/>
      <dgm:t>
        <a:bodyPr/>
        <a:lstStyle/>
        <a:p>
          <a:endParaRPr lang="ru-RU"/>
        </a:p>
      </dgm:t>
    </dgm:pt>
    <dgm:pt modelId="{41FADCE9-CB46-46DD-B3D7-956F89C14C3E}" type="sibTrans" cxnId="{E32E85BF-197F-461A-A380-5C0772C34315}">
      <dgm:prSet/>
      <dgm:spPr/>
      <dgm:t>
        <a:bodyPr/>
        <a:lstStyle/>
        <a:p>
          <a:endParaRPr lang="ru-RU"/>
        </a:p>
      </dgm:t>
    </dgm:pt>
    <dgm:pt modelId="{4ADE554E-60CB-429C-976F-5B92802F0897}" type="pres">
      <dgm:prSet presAssocID="{982F8AF4-4CBC-4AB6-A2A2-B0F3EF039211}" presName="linear" presStyleCnt="0">
        <dgm:presLayoutVars>
          <dgm:animLvl val="lvl"/>
          <dgm:resizeHandles val="exact"/>
        </dgm:presLayoutVars>
      </dgm:prSet>
      <dgm:spPr/>
    </dgm:pt>
    <dgm:pt modelId="{AE4812DB-8499-4208-A007-FF2E8764283D}" type="pres">
      <dgm:prSet presAssocID="{BA8F8CD4-4453-402F-9903-44C0B4FF1F15}" presName="parentText" presStyleLbl="node1" presStyleIdx="0" presStyleCnt="3" custScaleY="64572" custLinFactNeighborY="-15430">
        <dgm:presLayoutVars>
          <dgm:chMax val="0"/>
          <dgm:bulletEnabled val="1"/>
        </dgm:presLayoutVars>
      </dgm:prSet>
      <dgm:spPr/>
    </dgm:pt>
    <dgm:pt modelId="{65C3D534-82FA-4D0A-910A-2A82E8A866D8}" type="pres">
      <dgm:prSet presAssocID="{BA8F8CD4-4453-402F-9903-44C0B4FF1F15}" presName="childText" presStyleLbl="revTx" presStyleIdx="0" presStyleCnt="3">
        <dgm:presLayoutVars>
          <dgm:bulletEnabled val="1"/>
        </dgm:presLayoutVars>
      </dgm:prSet>
      <dgm:spPr/>
    </dgm:pt>
    <dgm:pt modelId="{19911EC7-65D6-466D-96EE-53C9172D758B}" type="pres">
      <dgm:prSet presAssocID="{0C653AE6-F611-4EA8-9553-47CD6C7F8E4D}" presName="parentText" presStyleLbl="node1" presStyleIdx="1" presStyleCnt="3" custScaleY="71665">
        <dgm:presLayoutVars>
          <dgm:chMax val="0"/>
          <dgm:bulletEnabled val="1"/>
        </dgm:presLayoutVars>
      </dgm:prSet>
      <dgm:spPr/>
    </dgm:pt>
    <dgm:pt modelId="{932D7A56-44CC-4119-8ADE-C5D15F0193CA}" type="pres">
      <dgm:prSet presAssocID="{0C653AE6-F611-4EA8-9553-47CD6C7F8E4D}" presName="childText" presStyleLbl="revTx" presStyleIdx="1" presStyleCnt="3">
        <dgm:presLayoutVars>
          <dgm:bulletEnabled val="1"/>
        </dgm:presLayoutVars>
      </dgm:prSet>
      <dgm:spPr/>
    </dgm:pt>
    <dgm:pt modelId="{CC39DD98-50C2-4DC4-B627-872F914ED6C1}" type="pres">
      <dgm:prSet presAssocID="{FFB0C42E-4465-40F4-BD89-DDBF32B56B81}" presName="parentText" presStyleLbl="node1" presStyleIdx="2" presStyleCnt="3" custScaleY="71452">
        <dgm:presLayoutVars>
          <dgm:chMax val="0"/>
          <dgm:bulletEnabled val="1"/>
        </dgm:presLayoutVars>
      </dgm:prSet>
      <dgm:spPr/>
    </dgm:pt>
    <dgm:pt modelId="{42A464CC-C336-4F11-8120-0B0C98EE3B34}" type="pres">
      <dgm:prSet presAssocID="{FFB0C42E-4465-40F4-BD89-DDBF32B56B81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CC9A6009-D352-44A6-8F1D-CE2200E4679D}" srcId="{0C653AE6-F611-4EA8-9553-47CD6C7F8E4D}" destId="{C91B0F85-CA5E-4D74-B417-1E699935C24B}" srcOrd="0" destOrd="0" parTransId="{0D1866D6-2FF3-4F3B-9FF0-5EFA374B1689}" sibTransId="{55A278E0-DCAB-425E-875E-081CEC4D2A33}"/>
    <dgm:cxn modelId="{0D1BD712-267A-426B-A6A4-7ED7DFC53BEC}" srcId="{982F8AF4-4CBC-4AB6-A2A2-B0F3EF039211}" destId="{0C653AE6-F611-4EA8-9553-47CD6C7F8E4D}" srcOrd="1" destOrd="0" parTransId="{DD17DB10-1D1A-4433-A91A-0BD762C7B5B1}" sibTransId="{C5A27D77-C2D6-4773-B8A4-869FE2D81F00}"/>
    <dgm:cxn modelId="{A2016917-8C6D-456E-942F-6187629CFB69}" srcId="{FFB0C42E-4465-40F4-BD89-DDBF32B56B81}" destId="{D541833F-F9AC-4B6C-9081-E829958EB608}" srcOrd="0" destOrd="0" parTransId="{C59DB957-6271-440F-BB76-1F12B006A414}" sibTransId="{7C813FF6-BC40-4AEE-853A-665FF8617BDD}"/>
    <dgm:cxn modelId="{82B6DD1F-53AD-4A8B-B8BF-C8A53DFC44DF}" type="presOf" srcId="{C91B0F85-CA5E-4D74-B417-1E699935C24B}" destId="{932D7A56-44CC-4119-8ADE-C5D15F0193CA}" srcOrd="0" destOrd="0" presId="urn:microsoft.com/office/officeart/2005/8/layout/vList2"/>
    <dgm:cxn modelId="{BA90F329-5A7B-41C2-BD96-0326C1EE5132}" type="presOf" srcId="{DE7D34A8-D2B5-4D7B-846B-55B6543E8EC4}" destId="{65C3D534-82FA-4D0A-910A-2A82E8A866D8}" srcOrd="0" destOrd="0" presId="urn:microsoft.com/office/officeart/2005/8/layout/vList2"/>
    <dgm:cxn modelId="{FE53EB2E-5320-483D-BE7A-402D0F6113C8}" srcId="{982F8AF4-4CBC-4AB6-A2A2-B0F3EF039211}" destId="{FFB0C42E-4465-40F4-BD89-DDBF32B56B81}" srcOrd="2" destOrd="0" parTransId="{AC119C0D-C377-4F81-81C7-42BE950EE58E}" sibTransId="{2E38A0B0-1399-4040-88C7-AE6350D01196}"/>
    <dgm:cxn modelId="{C8254F33-64B7-4DCD-A0AB-9819AAA70B5C}" type="presOf" srcId="{BA8F8CD4-4453-402F-9903-44C0B4FF1F15}" destId="{AE4812DB-8499-4208-A007-FF2E8764283D}" srcOrd="0" destOrd="0" presId="urn:microsoft.com/office/officeart/2005/8/layout/vList2"/>
    <dgm:cxn modelId="{B2668B38-C48B-424E-B83C-357678BA8DCA}" type="presOf" srcId="{982F8AF4-4CBC-4AB6-A2A2-B0F3EF039211}" destId="{4ADE554E-60CB-429C-976F-5B92802F0897}" srcOrd="0" destOrd="0" presId="urn:microsoft.com/office/officeart/2005/8/layout/vList2"/>
    <dgm:cxn modelId="{2D69503A-39A4-4E41-A771-35850A5B327B}" type="presOf" srcId="{6C653BA2-EA05-4861-813E-B4C8845211B6}" destId="{932D7A56-44CC-4119-8ADE-C5D15F0193CA}" srcOrd="0" destOrd="1" presId="urn:microsoft.com/office/officeart/2005/8/layout/vList2"/>
    <dgm:cxn modelId="{1B2BC06D-EAFC-4AB1-A705-EEEF076D4536}" type="presOf" srcId="{A6809339-A833-4240-8112-905A87D04AC6}" destId="{65C3D534-82FA-4D0A-910A-2A82E8A866D8}" srcOrd="0" destOrd="1" presId="urn:microsoft.com/office/officeart/2005/8/layout/vList2"/>
    <dgm:cxn modelId="{1C11CD53-0BBB-470C-917C-982565DC30CC}" srcId="{982F8AF4-4CBC-4AB6-A2A2-B0F3EF039211}" destId="{BA8F8CD4-4453-402F-9903-44C0B4FF1F15}" srcOrd="0" destOrd="0" parTransId="{B37E0C5F-84C1-4D55-AC37-C68AC188E47B}" sibTransId="{9F49064D-C638-4F07-BDE1-8C5BCA3736FB}"/>
    <dgm:cxn modelId="{3E7B817F-3693-410A-B537-7E21A5789996}" srcId="{0C653AE6-F611-4EA8-9553-47CD6C7F8E4D}" destId="{6C653BA2-EA05-4861-813E-B4C8845211B6}" srcOrd="1" destOrd="0" parTransId="{82EE18D3-F99F-4DB5-8726-A13EB6D195EB}" sibTransId="{200E68F7-48BA-4D00-AA24-27EA256E78F9}"/>
    <dgm:cxn modelId="{A4B36886-C924-4766-A70F-16A1461EFD19}" type="presOf" srcId="{0C653AE6-F611-4EA8-9553-47CD6C7F8E4D}" destId="{19911EC7-65D6-466D-96EE-53C9172D758B}" srcOrd="0" destOrd="0" presId="urn:microsoft.com/office/officeart/2005/8/layout/vList2"/>
    <dgm:cxn modelId="{5E2964A7-C35E-45D5-ABA3-4F4A5D6D8277}" type="presOf" srcId="{FFB0C42E-4465-40F4-BD89-DDBF32B56B81}" destId="{CC39DD98-50C2-4DC4-B627-872F914ED6C1}" srcOrd="0" destOrd="0" presId="urn:microsoft.com/office/officeart/2005/8/layout/vList2"/>
    <dgm:cxn modelId="{E32E85BF-197F-461A-A380-5C0772C34315}" srcId="{BA8F8CD4-4453-402F-9903-44C0B4FF1F15}" destId="{A6809339-A833-4240-8112-905A87D04AC6}" srcOrd="1" destOrd="0" parTransId="{ECE07737-6656-457C-B04C-3CA7F5DB986D}" sibTransId="{41FADCE9-CB46-46DD-B3D7-956F89C14C3E}"/>
    <dgm:cxn modelId="{EA1832D7-E68E-4408-8EFB-BC2DDFF06860}" srcId="{BA8F8CD4-4453-402F-9903-44C0B4FF1F15}" destId="{DE7D34A8-D2B5-4D7B-846B-55B6543E8EC4}" srcOrd="0" destOrd="0" parTransId="{8DF48021-4EC2-48F2-BC28-C93D576F9761}" sibTransId="{FA22E24F-48AD-4E69-9C68-8E622526137F}"/>
    <dgm:cxn modelId="{978172EC-B244-49AB-90C3-D7A52ABC75A4}" type="presOf" srcId="{D541833F-F9AC-4B6C-9081-E829958EB608}" destId="{42A464CC-C336-4F11-8120-0B0C98EE3B34}" srcOrd="0" destOrd="0" presId="urn:microsoft.com/office/officeart/2005/8/layout/vList2"/>
    <dgm:cxn modelId="{B5F50E30-8CCC-45E0-97BD-F0E0F2938083}" type="presParOf" srcId="{4ADE554E-60CB-429C-976F-5B92802F0897}" destId="{AE4812DB-8499-4208-A007-FF2E8764283D}" srcOrd="0" destOrd="0" presId="urn:microsoft.com/office/officeart/2005/8/layout/vList2"/>
    <dgm:cxn modelId="{A9C80514-3359-4D82-B921-128232CB9B36}" type="presParOf" srcId="{4ADE554E-60CB-429C-976F-5B92802F0897}" destId="{65C3D534-82FA-4D0A-910A-2A82E8A866D8}" srcOrd="1" destOrd="0" presId="urn:microsoft.com/office/officeart/2005/8/layout/vList2"/>
    <dgm:cxn modelId="{9026D274-7C1D-4FFF-AB8B-2C472D056551}" type="presParOf" srcId="{4ADE554E-60CB-429C-976F-5B92802F0897}" destId="{19911EC7-65D6-466D-96EE-53C9172D758B}" srcOrd="2" destOrd="0" presId="urn:microsoft.com/office/officeart/2005/8/layout/vList2"/>
    <dgm:cxn modelId="{BC0CB18F-C4DA-4143-9E5D-874E459ADDE0}" type="presParOf" srcId="{4ADE554E-60CB-429C-976F-5B92802F0897}" destId="{932D7A56-44CC-4119-8ADE-C5D15F0193CA}" srcOrd="3" destOrd="0" presId="urn:microsoft.com/office/officeart/2005/8/layout/vList2"/>
    <dgm:cxn modelId="{6FDD67CE-F673-4BBE-A122-AA7C1962EB58}" type="presParOf" srcId="{4ADE554E-60CB-429C-976F-5B92802F0897}" destId="{CC39DD98-50C2-4DC4-B627-872F914ED6C1}" srcOrd="4" destOrd="0" presId="urn:microsoft.com/office/officeart/2005/8/layout/vList2"/>
    <dgm:cxn modelId="{A00D473F-A5E7-4DA2-9963-EBCC2BC1C9E2}" type="presParOf" srcId="{4ADE554E-60CB-429C-976F-5B92802F0897}" destId="{42A464CC-C336-4F11-8120-0B0C98EE3B34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82F8AF4-4CBC-4AB6-A2A2-B0F3EF03921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8F8CD4-4453-402F-9903-44C0B4FF1F15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Сканирование КМ и регистрация выбытия ЛП – разные процессы</a:t>
          </a:r>
          <a:endParaRPr lang="ru-RU" sz="2300" dirty="0"/>
        </a:p>
      </dgm:t>
    </dgm:pt>
    <dgm:pt modelId="{B37E0C5F-84C1-4D55-AC37-C68AC188E47B}" type="parTrans" cxnId="{1C11CD53-0BBB-470C-917C-982565DC30CC}">
      <dgm:prSet/>
      <dgm:spPr/>
      <dgm:t>
        <a:bodyPr/>
        <a:lstStyle/>
        <a:p>
          <a:endParaRPr lang="ru-RU"/>
        </a:p>
      </dgm:t>
    </dgm:pt>
    <dgm:pt modelId="{9F49064D-C638-4F07-BDE1-8C5BCA3736FB}" type="sibTrans" cxnId="{1C11CD53-0BBB-470C-917C-982565DC30CC}">
      <dgm:prSet/>
      <dgm:spPr/>
      <dgm:t>
        <a:bodyPr/>
        <a:lstStyle/>
        <a:p>
          <a:endParaRPr lang="ru-RU"/>
        </a:p>
      </dgm:t>
    </dgm:pt>
    <dgm:pt modelId="{0C653AE6-F611-4EA8-9553-47CD6C7F8E4D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Определение мест установки РВ и мест установки СКЗИ - варианты </a:t>
          </a:r>
        </a:p>
      </dgm:t>
    </dgm:pt>
    <dgm:pt modelId="{DD17DB10-1D1A-4433-A91A-0BD762C7B5B1}" type="parTrans" cxnId="{0D1BD712-267A-426B-A6A4-7ED7DFC53BEC}">
      <dgm:prSet/>
      <dgm:spPr/>
      <dgm:t>
        <a:bodyPr/>
        <a:lstStyle/>
        <a:p>
          <a:endParaRPr lang="ru-RU"/>
        </a:p>
      </dgm:t>
    </dgm:pt>
    <dgm:pt modelId="{C5A27D77-C2D6-4773-B8A4-869FE2D81F00}" type="sibTrans" cxnId="{0D1BD712-267A-426B-A6A4-7ED7DFC53BEC}">
      <dgm:prSet/>
      <dgm:spPr/>
      <dgm:t>
        <a:bodyPr/>
        <a:lstStyle/>
        <a:p>
          <a:endParaRPr lang="ru-RU"/>
        </a:p>
      </dgm:t>
    </dgm:pt>
    <dgm:pt modelId="{FFB0C42E-4465-40F4-BD89-DDBF32B56B81}">
      <dgm:prSet phldrT="[Текст]" custT="1"/>
      <dgm:spPr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80010" rIns="80010" bIns="80010" numCol="1" spcCol="1270" anchor="ctr" anchorCtr="0"/>
        <a:lstStyle/>
        <a:p>
          <a:pPr>
            <a:buNone/>
          </a:pPr>
          <a:r>
            <a:rPr lang="ru-RU" sz="2300" b="1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Тестовые стенды и привлечение разработчиков</a:t>
          </a:r>
        </a:p>
      </dgm:t>
    </dgm:pt>
    <dgm:pt modelId="{AC119C0D-C377-4F81-81C7-42BE950EE58E}" type="parTrans" cxnId="{FE53EB2E-5320-483D-BE7A-402D0F6113C8}">
      <dgm:prSet/>
      <dgm:spPr/>
      <dgm:t>
        <a:bodyPr/>
        <a:lstStyle/>
        <a:p>
          <a:endParaRPr lang="ru-RU"/>
        </a:p>
      </dgm:t>
    </dgm:pt>
    <dgm:pt modelId="{2E38A0B0-1399-4040-88C7-AE6350D01196}" type="sibTrans" cxnId="{FE53EB2E-5320-483D-BE7A-402D0F6113C8}">
      <dgm:prSet/>
      <dgm:spPr/>
      <dgm:t>
        <a:bodyPr/>
        <a:lstStyle/>
        <a:p>
          <a:endParaRPr lang="ru-RU"/>
        </a:p>
      </dgm:t>
    </dgm:pt>
    <dgm:pt modelId="{D541833F-F9AC-4B6C-9081-E829958EB608}">
      <dgm:prSet phldrT="[Текст]" custT="1"/>
      <dgm:spPr>
        <a:noFill/>
        <a:ln>
          <a:noFill/>
        </a:ln>
        <a:effectLst/>
      </dgm:spPr>
      <dgm:t>
        <a:bodyPr spcFirstLastPara="0" vert="horz" wrap="square" lIns="355271" tIns="27940" rIns="156464" bIns="27940" numCol="1" spcCol="1270" anchor="t" anchorCtr="0"/>
        <a:lstStyle/>
        <a:p>
          <a:pPr>
            <a:buChar char="•"/>
          </a:pPr>
          <a:r>
            <a:rPr lang="ru-RU" sz="18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Тестовый стенд </a:t>
          </a:r>
          <a:r>
            <a:rPr lang="en-US" sz="18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API</a:t>
          </a:r>
          <a:endParaRPr lang="ru-RU" sz="18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</dgm:t>
    </dgm:pt>
    <dgm:pt modelId="{C59DB957-6271-440F-BB76-1F12B006A414}" type="parTrans" cxnId="{A2016917-8C6D-456E-942F-6187629CFB69}">
      <dgm:prSet/>
      <dgm:spPr/>
      <dgm:t>
        <a:bodyPr/>
        <a:lstStyle/>
        <a:p>
          <a:endParaRPr lang="ru-RU"/>
        </a:p>
      </dgm:t>
    </dgm:pt>
    <dgm:pt modelId="{7C813FF6-BC40-4AEE-853A-665FF8617BDD}" type="sibTrans" cxnId="{A2016917-8C6D-456E-942F-6187629CFB69}">
      <dgm:prSet/>
      <dgm:spPr/>
      <dgm:t>
        <a:bodyPr/>
        <a:lstStyle/>
        <a:p>
          <a:endParaRPr lang="ru-RU"/>
        </a:p>
      </dgm:t>
    </dgm:pt>
    <dgm:pt modelId="{C91B0F85-CA5E-4D74-B417-1E699935C24B}">
      <dgm:prSet phldrT="[Текст]" custT="1"/>
      <dgm:spPr/>
      <dgm:t>
        <a:bodyPr/>
        <a:lstStyle/>
        <a:p>
          <a:r>
            <a:rPr lang="ru-RU" sz="1800" dirty="0"/>
            <a:t>Весь вывод из оборота регистрируется в больничной аптеке</a:t>
          </a:r>
        </a:p>
      </dgm:t>
    </dgm:pt>
    <dgm:pt modelId="{0D1866D6-2FF3-4F3B-9FF0-5EFA374B1689}" type="parTrans" cxnId="{CC9A6009-D352-44A6-8F1D-CE2200E4679D}">
      <dgm:prSet/>
      <dgm:spPr/>
      <dgm:t>
        <a:bodyPr/>
        <a:lstStyle/>
        <a:p>
          <a:endParaRPr lang="ru-RU"/>
        </a:p>
      </dgm:t>
    </dgm:pt>
    <dgm:pt modelId="{55A278E0-DCAB-425E-875E-081CEC4D2A33}" type="sibTrans" cxnId="{CC9A6009-D352-44A6-8F1D-CE2200E4679D}">
      <dgm:prSet/>
      <dgm:spPr/>
      <dgm:t>
        <a:bodyPr/>
        <a:lstStyle/>
        <a:p>
          <a:endParaRPr lang="ru-RU"/>
        </a:p>
      </dgm:t>
    </dgm:pt>
    <dgm:pt modelId="{DE7D34A8-D2B5-4D7B-846B-55B6543E8EC4}">
      <dgm:prSet phldrT="[Текст]" custT="1"/>
      <dgm:spPr/>
      <dgm:t>
        <a:bodyPr/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Сканирование кодов маркировки ЛП и отправка сведений в МДЛП технически могут быть разделены по месту и времени так, как это удобно медицинской организации</a:t>
          </a:r>
        </a:p>
      </dgm:t>
    </dgm:pt>
    <dgm:pt modelId="{8DF48021-4EC2-48F2-BC28-C93D576F9761}" type="parTrans" cxnId="{EA1832D7-E68E-4408-8EFB-BC2DDFF06860}">
      <dgm:prSet/>
      <dgm:spPr/>
      <dgm:t>
        <a:bodyPr/>
        <a:lstStyle/>
        <a:p>
          <a:endParaRPr lang="ru-RU"/>
        </a:p>
      </dgm:t>
    </dgm:pt>
    <dgm:pt modelId="{FA22E24F-48AD-4E69-9C68-8E622526137F}" type="sibTrans" cxnId="{EA1832D7-E68E-4408-8EFB-BC2DDFF06860}">
      <dgm:prSet/>
      <dgm:spPr/>
      <dgm:t>
        <a:bodyPr/>
        <a:lstStyle/>
        <a:p>
          <a:endParaRPr lang="ru-RU"/>
        </a:p>
      </dgm:t>
    </dgm:pt>
    <dgm:pt modelId="{6C653BA2-EA05-4861-813E-B4C8845211B6}">
      <dgm:prSet phldrT="[Текст]" custT="1"/>
      <dgm:spPr/>
      <dgm:t>
        <a:bodyPr/>
        <a:lstStyle/>
        <a:p>
          <a:r>
            <a:rPr lang="el-GR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Σ</a:t>
          </a: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= </a:t>
          </a:r>
          <a:r>
            <a:rPr lang="ru-RU" sz="1800" dirty="0"/>
            <a:t>Смешанный подход</a:t>
          </a:r>
        </a:p>
      </dgm:t>
    </dgm:pt>
    <dgm:pt modelId="{82EE18D3-F99F-4DB5-8726-A13EB6D195EB}" type="parTrans" cxnId="{3E7B817F-3693-410A-B537-7E21A5789996}">
      <dgm:prSet/>
      <dgm:spPr/>
      <dgm:t>
        <a:bodyPr/>
        <a:lstStyle/>
        <a:p>
          <a:endParaRPr lang="ru-RU"/>
        </a:p>
      </dgm:t>
    </dgm:pt>
    <dgm:pt modelId="{200E68F7-48BA-4D00-AA24-27EA256E78F9}" type="sibTrans" cxnId="{3E7B817F-3693-410A-B537-7E21A5789996}">
      <dgm:prSet/>
      <dgm:spPr/>
      <dgm:t>
        <a:bodyPr/>
        <a:lstStyle/>
        <a:p>
          <a:endParaRPr lang="ru-RU"/>
        </a:p>
      </dgm:t>
    </dgm:pt>
    <dgm:pt modelId="{6113A16B-FA0E-4726-B17B-4E539632BCAC}">
      <dgm:prSet phldrT="[Текст]" custT="1"/>
      <dgm:spPr/>
      <dgm:t>
        <a:bodyPr/>
        <a:lstStyle/>
        <a:p>
          <a:r>
            <a:rPr lang="ru-RU" sz="1800" dirty="0"/>
            <a:t>или Разделение материальных потоков по видам упаковки</a:t>
          </a:r>
        </a:p>
      </dgm:t>
    </dgm:pt>
    <dgm:pt modelId="{935CF2AF-41B2-4989-A426-73B062F579F6}" type="parTrans" cxnId="{F772EB29-E14F-443B-82FA-08CD1EC93A88}">
      <dgm:prSet/>
      <dgm:spPr/>
      <dgm:t>
        <a:bodyPr/>
        <a:lstStyle/>
        <a:p>
          <a:endParaRPr lang="ru-RU"/>
        </a:p>
      </dgm:t>
    </dgm:pt>
    <dgm:pt modelId="{1A77A004-E1BE-42F4-9B88-BB8B45C83ED8}" type="sibTrans" cxnId="{F772EB29-E14F-443B-82FA-08CD1EC93A88}">
      <dgm:prSet/>
      <dgm:spPr/>
      <dgm:t>
        <a:bodyPr/>
        <a:lstStyle/>
        <a:p>
          <a:endParaRPr lang="ru-RU"/>
        </a:p>
      </dgm:t>
    </dgm:pt>
    <dgm:pt modelId="{CF70C032-1C09-4C7B-85B3-6FC8D514EBA5}">
      <dgm:prSet phldrT="[Текст]" custT="1"/>
      <dgm:spPr/>
      <dgm:t>
        <a:bodyPr/>
        <a:lstStyle/>
        <a:p>
          <a:r>
            <a:rPr lang="ru-RU" sz="1800" dirty="0"/>
            <a:t>или Разделение материальных потоков по отделениям по объему оборота</a:t>
          </a:r>
        </a:p>
      </dgm:t>
    </dgm:pt>
    <dgm:pt modelId="{5525388D-1FD5-4099-84AF-B1C9DF77B794}" type="parTrans" cxnId="{50472939-811C-43CE-B4AF-D89766EEDF2C}">
      <dgm:prSet/>
      <dgm:spPr/>
      <dgm:t>
        <a:bodyPr/>
        <a:lstStyle/>
        <a:p>
          <a:endParaRPr lang="ru-RU"/>
        </a:p>
      </dgm:t>
    </dgm:pt>
    <dgm:pt modelId="{CA304EF6-F220-44A3-9B47-1C13913A7797}" type="sibTrans" cxnId="{50472939-811C-43CE-B4AF-D89766EEDF2C}">
      <dgm:prSet/>
      <dgm:spPr/>
      <dgm:t>
        <a:bodyPr/>
        <a:lstStyle/>
        <a:p>
          <a:endParaRPr lang="ru-RU"/>
        </a:p>
      </dgm:t>
    </dgm:pt>
    <dgm:pt modelId="{98D183EF-0189-40BE-9892-8F9DCC40562A}">
      <dgm:prSet phldrT="[Текст]" custT="1"/>
      <dgm:spPr>
        <a:noFill/>
        <a:ln>
          <a:noFill/>
        </a:ln>
        <a:effectLst/>
      </dgm:spPr>
      <dgm:t>
        <a:bodyPr spcFirstLastPara="0" vert="horz" wrap="square" lIns="355271" tIns="27940" rIns="156464" bIns="27940" numCol="1" spcCol="1270" anchor="t" anchorCtr="0"/>
        <a:lstStyle/>
        <a:p>
          <a:pPr>
            <a:buChar char="•"/>
          </a:pPr>
          <a:r>
            <a:rPr lang="ru-RU" sz="18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«Песочница» МДЛП</a:t>
          </a:r>
        </a:p>
      </dgm:t>
    </dgm:pt>
    <dgm:pt modelId="{253DBEE0-B151-4892-B944-65ED45B08416}" type="parTrans" cxnId="{398730C6-DB16-49CA-A7FF-7285ECB0427B}">
      <dgm:prSet/>
      <dgm:spPr/>
      <dgm:t>
        <a:bodyPr/>
        <a:lstStyle/>
        <a:p>
          <a:endParaRPr lang="ru-RU"/>
        </a:p>
      </dgm:t>
    </dgm:pt>
    <dgm:pt modelId="{887CAB9B-2FB9-4694-BAEB-ED2D3012075C}" type="sibTrans" cxnId="{398730C6-DB16-49CA-A7FF-7285ECB0427B}">
      <dgm:prSet/>
      <dgm:spPr/>
      <dgm:t>
        <a:bodyPr/>
        <a:lstStyle/>
        <a:p>
          <a:endParaRPr lang="ru-RU"/>
        </a:p>
      </dgm:t>
    </dgm:pt>
    <dgm:pt modelId="{686658F9-D26B-4FE0-BCA7-94EE091E45AC}">
      <dgm:prSet phldrT="[Текст]" custT="1"/>
      <dgm:spPr>
        <a:noFill/>
        <a:ln>
          <a:noFill/>
        </a:ln>
        <a:effectLst/>
      </dgm:spPr>
      <dgm:t>
        <a:bodyPr spcFirstLastPara="0" vert="horz" wrap="square" lIns="355271" tIns="27940" rIns="156464" bIns="27940" numCol="1" spcCol="1270" anchor="t" anchorCtr="0"/>
        <a:lstStyle/>
        <a:p>
          <a:pPr>
            <a:buChar char="•"/>
          </a:pPr>
          <a:r>
            <a:rPr lang="ru-RU" sz="18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омышленная система</a:t>
          </a:r>
        </a:p>
      </dgm:t>
    </dgm:pt>
    <dgm:pt modelId="{F25C5802-C26F-46A6-8567-70A979185C7A}" type="parTrans" cxnId="{EEE7A684-01F1-4E90-94DB-65E372F7E291}">
      <dgm:prSet/>
      <dgm:spPr/>
      <dgm:t>
        <a:bodyPr/>
        <a:lstStyle/>
        <a:p>
          <a:endParaRPr lang="ru-RU"/>
        </a:p>
      </dgm:t>
    </dgm:pt>
    <dgm:pt modelId="{92DF2AC2-A593-49B0-9CD5-A97C020CDB59}" type="sibTrans" cxnId="{EEE7A684-01F1-4E90-94DB-65E372F7E291}">
      <dgm:prSet/>
      <dgm:spPr/>
      <dgm:t>
        <a:bodyPr/>
        <a:lstStyle/>
        <a:p>
          <a:endParaRPr lang="ru-RU"/>
        </a:p>
      </dgm:t>
    </dgm:pt>
    <dgm:pt modelId="{4ADE554E-60CB-429C-976F-5B92802F0897}" type="pres">
      <dgm:prSet presAssocID="{982F8AF4-4CBC-4AB6-A2A2-B0F3EF039211}" presName="linear" presStyleCnt="0">
        <dgm:presLayoutVars>
          <dgm:animLvl val="lvl"/>
          <dgm:resizeHandles val="exact"/>
        </dgm:presLayoutVars>
      </dgm:prSet>
      <dgm:spPr/>
    </dgm:pt>
    <dgm:pt modelId="{AE4812DB-8499-4208-A007-FF2E8764283D}" type="pres">
      <dgm:prSet presAssocID="{BA8F8CD4-4453-402F-9903-44C0B4FF1F15}" presName="parentText" presStyleLbl="node1" presStyleIdx="0" presStyleCnt="3" custScaleY="64572" custLinFactNeighborY="-15430">
        <dgm:presLayoutVars>
          <dgm:chMax val="0"/>
          <dgm:bulletEnabled val="1"/>
        </dgm:presLayoutVars>
      </dgm:prSet>
      <dgm:spPr/>
    </dgm:pt>
    <dgm:pt modelId="{65C3D534-82FA-4D0A-910A-2A82E8A866D8}" type="pres">
      <dgm:prSet presAssocID="{BA8F8CD4-4453-402F-9903-44C0B4FF1F15}" presName="childText" presStyleLbl="revTx" presStyleIdx="0" presStyleCnt="3">
        <dgm:presLayoutVars>
          <dgm:bulletEnabled val="1"/>
        </dgm:presLayoutVars>
      </dgm:prSet>
      <dgm:spPr/>
    </dgm:pt>
    <dgm:pt modelId="{19911EC7-65D6-466D-96EE-53C9172D758B}" type="pres">
      <dgm:prSet presAssocID="{0C653AE6-F611-4EA8-9553-47CD6C7F8E4D}" presName="parentText" presStyleLbl="node1" presStyleIdx="1" presStyleCnt="3" custScaleY="71665">
        <dgm:presLayoutVars>
          <dgm:chMax val="0"/>
          <dgm:bulletEnabled val="1"/>
        </dgm:presLayoutVars>
      </dgm:prSet>
      <dgm:spPr/>
    </dgm:pt>
    <dgm:pt modelId="{932D7A56-44CC-4119-8ADE-C5D15F0193CA}" type="pres">
      <dgm:prSet presAssocID="{0C653AE6-F611-4EA8-9553-47CD6C7F8E4D}" presName="childText" presStyleLbl="revTx" presStyleIdx="1" presStyleCnt="3">
        <dgm:presLayoutVars>
          <dgm:bulletEnabled val="1"/>
        </dgm:presLayoutVars>
      </dgm:prSet>
      <dgm:spPr/>
    </dgm:pt>
    <dgm:pt modelId="{CC39DD98-50C2-4DC4-B627-872F914ED6C1}" type="pres">
      <dgm:prSet presAssocID="{FFB0C42E-4465-40F4-BD89-DDBF32B56B81}" presName="parentText" presStyleLbl="node1" presStyleIdx="2" presStyleCnt="3" custScaleY="71452" custLinFactNeighborX="6913" custLinFactNeighborY="1186">
        <dgm:presLayoutVars>
          <dgm:chMax val="0"/>
          <dgm:bulletEnabled val="1"/>
        </dgm:presLayoutVars>
      </dgm:prSet>
      <dgm:spPr/>
    </dgm:pt>
    <dgm:pt modelId="{42A464CC-C336-4F11-8120-0B0C98EE3B34}" type="pres">
      <dgm:prSet presAssocID="{FFB0C42E-4465-40F4-BD89-DDBF32B56B81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CC9A6009-D352-44A6-8F1D-CE2200E4679D}" srcId="{0C653AE6-F611-4EA8-9553-47CD6C7F8E4D}" destId="{C91B0F85-CA5E-4D74-B417-1E699935C24B}" srcOrd="0" destOrd="0" parTransId="{0D1866D6-2FF3-4F3B-9FF0-5EFA374B1689}" sibTransId="{55A278E0-DCAB-425E-875E-081CEC4D2A33}"/>
    <dgm:cxn modelId="{0D1BD712-267A-426B-A6A4-7ED7DFC53BEC}" srcId="{982F8AF4-4CBC-4AB6-A2A2-B0F3EF039211}" destId="{0C653AE6-F611-4EA8-9553-47CD6C7F8E4D}" srcOrd="1" destOrd="0" parTransId="{DD17DB10-1D1A-4433-A91A-0BD762C7B5B1}" sibTransId="{C5A27D77-C2D6-4773-B8A4-869FE2D81F00}"/>
    <dgm:cxn modelId="{A2016917-8C6D-456E-942F-6187629CFB69}" srcId="{FFB0C42E-4465-40F4-BD89-DDBF32B56B81}" destId="{D541833F-F9AC-4B6C-9081-E829958EB608}" srcOrd="0" destOrd="0" parTransId="{C59DB957-6271-440F-BB76-1F12B006A414}" sibTransId="{7C813FF6-BC40-4AEE-853A-665FF8617BDD}"/>
    <dgm:cxn modelId="{82B6DD1F-53AD-4A8B-B8BF-C8A53DFC44DF}" type="presOf" srcId="{C91B0F85-CA5E-4D74-B417-1E699935C24B}" destId="{932D7A56-44CC-4119-8ADE-C5D15F0193CA}" srcOrd="0" destOrd="0" presId="urn:microsoft.com/office/officeart/2005/8/layout/vList2"/>
    <dgm:cxn modelId="{6D95D024-92B4-4FD5-A085-ED55F5362712}" type="presOf" srcId="{CF70C032-1C09-4C7B-85B3-6FC8D514EBA5}" destId="{932D7A56-44CC-4119-8ADE-C5D15F0193CA}" srcOrd="0" destOrd="2" presId="urn:microsoft.com/office/officeart/2005/8/layout/vList2"/>
    <dgm:cxn modelId="{F772EB29-E14F-443B-82FA-08CD1EC93A88}" srcId="{0C653AE6-F611-4EA8-9553-47CD6C7F8E4D}" destId="{6113A16B-FA0E-4726-B17B-4E539632BCAC}" srcOrd="1" destOrd="0" parTransId="{935CF2AF-41B2-4989-A426-73B062F579F6}" sibTransId="{1A77A004-E1BE-42F4-9B88-BB8B45C83ED8}"/>
    <dgm:cxn modelId="{BA90F329-5A7B-41C2-BD96-0326C1EE5132}" type="presOf" srcId="{DE7D34A8-D2B5-4D7B-846B-55B6543E8EC4}" destId="{65C3D534-82FA-4D0A-910A-2A82E8A866D8}" srcOrd="0" destOrd="0" presId="urn:microsoft.com/office/officeart/2005/8/layout/vList2"/>
    <dgm:cxn modelId="{E648272E-BE8C-4438-BE70-9803F1B12CB4}" type="presOf" srcId="{98D183EF-0189-40BE-9892-8F9DCC40562A}" destId="{42A464CC-C336-4F11-8120-0B0C98EE3B34}" srcOrd="0" destOrd="1" presId="urn:microsoft.com/office/officeart/2005/8/layout/vList2"/>
    <dgm:cxn modelId="{FE53EB2E-5320-483D-BE7A-402D0F6113C8}" srcId="{982F8AF4-4CBC-4AB6-A2A2-B0F3EF039211}" destId="{FFB0C42E-4465-40F4-BD89-DDBF32B56B81}" srcOrd="2" destOrd="0" parTransId="{AC119C0D-C377-4F81-81C7-42BE950EE58E}" sibTransId="{2E38A0B0-1399-4040-88C7-AE6350D01196}"/>
    <dgm:cxn modelId="{C8254F33-64B7-4DCD-A0AB-9819AAA70B5C}" type="presOf" srcId="{BA8F8CD4-4453-402F-9903-44C0B4FF1F15}" destId="{AE4812DB-8499-4208-A007-FF2E8764283D}" srcOrd="0" destOrd="0" presId="urn:microsoft.com/office/officeart/2005/8/layout/vList2"/>
    <dgm:cxn modelId="{B2668B38-C48B-424E-B83C-357678BA8DCA}" type="presOf" srcId="{982F8AF4-4CBC-4AB6-A2A2-B0F3EF039211}" destId="{4ADE554E-60CB-429C-976F-5B92802F0897}" srcOrd="0" destOrd="0" presId="urn:microsoft.com/office/officeart/2005/8/layout/vList2"/>
    <dgm:cxn modelId="{50472939-811C-43CE-B4AF-D89766EEDF2C}" srcId="{0C653AE6-F611-4EA8-9553-47CD6C7F8E4D}" destId="{CF70C032-1C09-4C7B-85B3-6FC8D514EBA5}" srcOrd="2" destOrd="0" parTransId="{5525388D-1FD5-4099-84AF-B1C9DF77B794}" sibTransId="{CA304EF6-F220-44A3-9B47-1C13913A7797}"/>
    <dgm:cxn modelId="{2D69503A-39A4-4E41-A771-35850A5B327B}" type="presOf" srcId="{6C653BA2-EA05-4861-813E-B4C8845211B6}" destId="{932D7A56-44CC-4119-8ADE-C5D15F0193CA}" srcOrd="0" destOrd="3" presId="urn:microsoft.com/office/officeart/2005/8/layout/vList2"/>
    <dgm:cxn modelId="{81011349-4866-4C3B-A344-9CD022359013}" type="presOf" srcId="{686658F9-D26B-4FE0-BCA7-94EE091E45AC}" destId="{42A464CC-C336-4F11-8120-0B0C98EE3B34}" srcOrd="0" destOrd="2" presId="urn:microsoft.com/office/officeart/2005/8/layout/vList2"/>
    <dgm:cxn modelId="{1C11CD53-0BBB-470C-917C-982565DC30CC}" srcId="{982F8AF4-4CBC-4AB6-A2A2-B0F3EF039211}" destId="{BA8F8CD4-4453-402F-9903-44C0B4FF1F15}" srcOrd="0" destOrd="0" parTransId="{B37E0C5F-84C1-4D55-AC37-C68AC188E47B}" sibTransId="{9F49064D-C638-4F07-BDE1-8C5BCA3736FB}"/>
    <dgm:cxn modelId="{3E7B817F-3693-410A-B537-7E21A5789996}" srcId="{0C653AE6-F611-4EA8-9553-47CD6C7F8E4D}" destId="{6C653BA2-EA05-4861-813E-B4C8845211B6}" srcOrd="3" destOrd="0" parTransId="{82EE18D3-F99F-4DB5-8726-A13EB6D195EB}" sibTransId="{200E68F7-48BA-4D00-AA24-27EA256E78F9}"/>
    <dgm:cxn modelId="{EEE7A684-01F1-4E90-94DB-65E372F7E291}" srcId="{FFB0C42E-4465-40F4-BD89-DDBF32B56B81}" destId="{686658F9-D26B-4FE0-BCA7-94EE091E45AC}" srcOrd="2" destOrd="0" parTransId="{F25C5802-C26F-46A6-8567-70A979185C7A}" sibTransId="{92DF2AC2-A593-49B0-9CD5-A97C020CDB59}"/>
    <dgm:cxn modelId="{A4B36886-C924-4766-A70F-16A1461EFD19}" type="presOf" srcId="{0C653AE6-F611-4EA8-9553-47CD6C7F8E4D}" destId="{19911EC7-65D6-466D-96EE-53C9172D758B}" srcOrd="0" destOrd="0" presId="urn:microsoft.com/office/officeart/2005/8/layout/vList2"/>
    <dgm:cxn modelId="{5E2964A7-C35E-45D5-ABA3-4F4A5D6D8277}" type="presOf" srcId="{FFB0C42E-4465-40F4-BD89-DDBF32B56B81}" destId="{CC39DD98-50C2-4DC4-B627-872F914ED6C1}" srcOrd="0" destOrd="0" presId="urn:microsoft.com/office/officeart/2005/8/layout/vList2"/>
    <dgm:cxn modelId="{598A79C5-9A76-4172-8DD1-AB6A439435E2}" type="presOf" srcId="{6113A16B-FA0E-4726-B17B-4E539632BCAC}" destId="{932D7A56-44CC-4119-8ADE-C5D15F0193CA}" srcOrd="0" destOrd="1" presId="urn:microsoft.com/office/officeart/2005/8/layout/vList2"/>
    <dgm:cxn modelId="{398730C6-DB16-49CA-A7FF-7285ECB0427B}" srcId="{FFB0C42E-4465-40F4-BD89-DDBF32B56B81}" destId="{98D183EF-0189-40BE-9892-8F9DCC40562A}" srcOrd="1" destOrd="0" parTransId="{253DBEE0-B151-4892-B944-65ED45B08416}" sibTransId="{887CAB9B-2FB9-4694-BAEB-ED2D3012075C}"/>
    <dgm:cxn modelId="{EA1832D7-E68E-4408-8EFB-BC2DDFF06860}" srcId="{BA8F8CD4-4453-402F-9903-44C0B4FF1F15}" destId="{DE7D34A8-D2B5-4D7B-846B-55B6543E8EC4}" srcOrd="0" destOrd="0" parTransId="{8DF48021-4EC2-48F2-BC28-C93D576F9761}" sibTransId="{FA22E24F-48AD-4E69-9C68-8E622526137F}"/>
    <dgm:cxn modelId="{978172EC-B244-49AB-90C3-D7A52ABC75A4}" type="presOf" srcId="{D541833F-F9AC-4B6C-9081-E829958EB608}" destId="{42A464CC-C336-4F11-8120-0B0C98EE3B34}" srcOrd="0" destOrd="0" presId="urn:microsoft.com/office/officeart/2005/8/layout/vList2"/>
    <dgm:cxn modelId="{B5F50E30-8CCC-45E0-97BD-F0E0F2938083}" type="presParOf" srcId="{4ADE554E-60CB-429C-976F-5B92802F0897}" destId="{AE4812DB-8499-4208-A007-FF2E8764283D}" srcOrd="0" destOrd="0" presId="urn:microsoft.com/office/officeart/2005/8/layout/vList2"/>
    <dgm:cxn modelId="{A9C80514-3359-4D82-B921-128232CB9B36}" type="presParOf" srcId="{4ADE554E-60CB-429C-976F-5B92802F0897}" destId="{65C3D534-82FA-4D0A-910A-2A82E8A866D8}" srcOrd="1" destOrd="0" presId="urn:microsoft.com/office/officeart/2005/8/layout/vList2"/>
    <dgm:cxn modelId="{9026D274-7C1D-4FFF-AB8B-2C472D056551}" type="presParOf" srcId="{4ADE554E-60CB-429C-976F-5B92802F0897}" destId="{19911EC7-65D6-466D-96EE-53C9172D758B}" srcOrd="2" destOrd="0" presId="urn:microsoft.com/office/officeart/2005/8/layout/vList2"/>
    <dgm:cxn modelId="{BC0CB18F-C4DA-4143-9E5D-874E459ADDE0}" type="presParOf" srcId="{4ADE554E-60CB-429C-976F-5B92802F0897}" destId="{932D7A56-44CC-4119-8ADE-C5D15F0193CA}" srcOrd="3" destOrd="0" presId="urn:microsoft.com/office/officeart/2005/8/layout/vList2"/>
    <dgm:cxn modelId="{6FDD67CE-F673-4BBE-A122-AA7C1962EB58}" type="presParOf" srcId="{4ADE554E-60CB-429C-976F-5B92802F0897}" destId="{CC39DD98-50C2-4DC4-B627-872F914ED6C1}" srcOrd="4" destOrd="0" presId="urn:microsoft.com/office/officeart/2005/8/layout/vList2"/>
    <dgm:cxn modelId="{A00D473F-A5E7-4DA2-9963-EBCC2BC1C9E2}" type="presParOf" srcId="{4ADE554E-60CB-429C-976F-5B92802F0897}" destId="{42A464CC-C336-4F11-8120-0B0C98EE3B34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82F8AF4-4CBC-4AB6-A2A2-B0F3EF03921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8F8CD4-4453-402F-9903-44C0B4FF1F15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Возможность</a:t>
          </a:r>
          <a:endParaRPr lang="ru-RU" sz="2300" dirty="0"/>
        </a:p>
      </dgm:t>
    </dgm:pt>
    <dgm:pt modelId="{B37E0C5F-84C1-4D55-AC37-C68AC188E47B}" type="parTrans" cxnId="{1C11CD53-0BBB-470C-917C-982565DC30CC}">
      <dgm:prSet/>
      <dgm:spPr/>
      <dgm:t>
        <a:bodyPr/>
        <a:lstStyle/>
        <a:p>
          <a:endParaRPr lang="ru-RU"/>
        </a:p>
      </dgm:t>
    </dgm:pt>
    <dgm:pt modelId="{9F49064D-C638-4F07-BDE1-8C5BCA3736FB}" type="sibTrans" cxnId="{1C11CD53-0BBB-470C-917C-982565DC30CC}">
      <dgm:prSet/>
      <dgm:spPr/>
      <dgm:t>
        <a:bodyPr/>
        <a:lstStyle/>
        <a:p>
          <a:endParaRPr lang="ru-RU"/>
        </a:p>
      </dgm:t>
    </dgm:pt>
    <dgm:pt modelId="{B091AD9C-1730-45F3-8C70-3A3D3EFA1359}">
      <dgm:prSet phldrT="[Текст]" custT="1"/>
      <dgm:spPr/>
      <dgm:t>
        <a:bodyPr/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Участники оборота, зарегистрировавшиеся в рамках эксперимента, не потеряют свои данные, все данные автоматически будут перенесены в промышленную систему, переход к обязательной маркировке с технической точки зрения будет «бесшовным»</a:t>
          </a:r>
        </a:p>
      </dgm:t>
    </dgm:pt>
    <dgm:pt modelId="{8DB3B53D-6C1B-4ACD-91E9-B35250C34116}" type="parTrans" cxnId="{4947F7EB-501A-49BD-8FFA-E894C894C758}">
      <dgm:prSet/>
      <dgm:spPr/>
      <dgm:t>
        <a:bodyPr/>
        <a:lstStyle/>
        <a:p>
          <a:endParaRPr lang="ru-RU"/>
        </a:p>
      </dgm:t>
    </dgm:pt>
    <dgm:pt modelId="{4A38E1D1-234A-407E-8A0D-7125BA88C1DA}" type="sibTrans" cxnId="{4947F7EB-501A-49BD-8FFA-E894C894C758}">
      <dgm:prSet/>
      <dgm:spPr/>
      <dgm:t>
        <a:bodyPr/>
        <a:lstStyle/>
        <a:p>
          <a:endParaRPr lang="ru-RU"/>
        </a:p>
      </dgm:t>
    </dgm:pt>
    <dgm:pt modelId="{0C653AE6-F611-4EA8-9553-47CD6C7F8E4D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300" b="1" dirty="0">
              <a:solidFill>
                <a:srgbClr val="58595B"/>
              </a:solidFill>
            </a:rPr>
            <a:t>Необходимость</a:t>
          </a:r>
        </a:p>
      </dgm:t>
    </dgm:pt>
    <dgm:pt modelId="{DD17DB10-1D1A-4433-A91A-0BD762C7B5B1}" type="parTrans" cxnId="{0D1BD712-267A-426B-A6A4-7ED7DFC53BEC}">
      <dgm:prSet/>
      <dgm:spPr/>
      <dgm:t>
        <a:bodyPr/>
        <a:lstStyle/>
        <a:p>
          <a:endParaRPr lang="ru-RU"/>
        </a:p>
      </dgm:t>
    </dgm:pt>
    <dgm:pt modelId="{C5A27D77-C2D6-4773-B8A4-869FE2D81F00}" type="sibTrans" cxnId="{0D1BD712-267A-426B-A6A4-7ED7DFC53BEC}">
      <dgm:prSet/>
      <dgm:spPr/>
      <dgm:t>
        <a:bodyPr/>
        <a:lstStyle/>
        <a:p>
          <a:endParaRPr lang="ru-RU"/>
        </a:p>
      </dgm:t>
    </dgm:pt>
    <dgm:pt modelId="{66C8F5D4-C461-4744-A99C-DE3686481285}">
      <dgm:prSet phldrT="[Текст]" custT="1"/>
      <dgm:spPr/>
      <dgm:t>
        <a:bodyPr/>
        <a:lstStyle/>
        <a:p>
          <a:r>
            <a:rPr lang="ru-RU" sz="1800" dirty="0"/>
            <a:t>Зарегистрироваться до 08.07.2019 невозможно, если начать этим заниматься 01.07.2019</a:t>
          </a:r>
        </a:p>
      </dgm:t>
    </dgm:pt>
    <dgm:pt modelId="{B237C744-E405-47CB-907A-8A41E322DD16}" type="parTrans" cxnId="{25759C45-764E-4270-AF88-A71278CEC80E}">
      <dgm:prSet/>
      <dgm:spPr/>
      <dgm:t>
        <a:bodyPr/>
        <a:lstStyle/>
        <a:p>
          <a:endParaRPr lang="ru-RU"/>
        </a:p>
      </dgm:t>
    </dgm:pt>
    <dgm:pt modelId="{A901AC20-F5C6-4EE8-B6A7-7608C72CDC4C}" type="sibTrans" cxnId="{25759C45-764E-4270-AF88-A71278CEC80E}">
      <dgm:prSet/>
      <dgm:spPr/>
      <dgm:t>
        <a:bodyPr/>
        <a:lstStyle/>
        <a:p>
          <a:endParaRPr lang="ru-RU"/>
        </a:p>
      </dgm:t>
    </dgm:pt>
    <dgm:pt modelId="{59230339-3C66-4B3C-8351-7ECD1B9B88BB}">
      <dgm:prSet phldrT="[Текст]" custT="1"/>
      <dgm:spPr/>
      <dgm:t>
        <a:bodyPr/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</dgm:t>
    </dgm:pt>
    <dgm:pt modelId="{14270C62-A1C8-43B4-BE08-8DADC64E58BD}" type="parTrans" cxnId="{68843A54-109B-4980-837E-910896013B6E}">
      <dgm:prSet/>
      <dgm:spPr/>
      <dgm:t>
        <a:bodyPr/>
        <a:lstStyle/>
        <a:p>
          <a:endParaRPr lang="ru-RU"/>
        </a:p>
      </dgm:t>
    </dgm:pt>
    <dgm:pt modelId="{51E940A6-99F8-453A-8F7A-0E56991A35EC}" type="sibTrans" cxnId="{68843A54-109B-4980-837E-910896013B6E}">
      <dgm:prSet/>
      <dgm:spPr/>
      <dgm:t>
        <a:bodyPr/>
        <a:lstStyle/>
        <a:p>
          <a:endParaRPr lang="ru-RU"/>
        </a:p>
      </dgm:t>
    </dgm:pt>
    <dgm:pt modelId="{11C042FB-B1AE-43E9-9A7C-5AEEDE35C35B}">
      <dgm:prSet custT="1"/>
      <dgm:spPr/>
      <dgm:t>
        <a:bodyPr/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</dgm:t>
    </dgm:pt>
    <dgm:pt modelId="{55501AD5-B379-400E-AE09-974D7440A08F}" type="parTrans" cxnId="{AE347DA9-1FE3-456C-8B5B-E099E277C1CA}">
      <dgm:prSet/>
      <dgm:spPr/>
      <dgm:t>
        <a:bodyPr/>
        <a:lstStyle/>
        <a:p>
          <a:endParaRPr lang="ru-RU"/>
        </a:p>
      </dgm:t>
    </dgm:pt>
    <dgm:pt modelId="{0726AF9A-08FC-4F1C-8492-0E1A3CDB4322}" type="sibTrans" cxnId="{AE347DA9-1FE3-456C-8B5B-E099E277C1CA}">
      <dgm:prSet/>
      <dgm:spPr/>
      <dgm:t>
        <a:bodyPr/>
        <a:lstStyle/>
        <a:p>
          <a:endParaRPr lang="ru-RU"/>
        </a:p>
      </dgm:t>
    </dgm:pt>
    <dgm:pt modelId="{CEE30BDE-4137-4431-B630-E5FAACE1C1C4}">
      <dgm:prSet phldrT="[Текст]" custT="1"/>
      <dgm:spPr/>
      <dgm:t>
        <a:bodyPr/>
        <a:lstStyle/>
        <a:p>
          <a:endParaRPr lang="ru-RU" sz="1800" dirty="0"/>
        </a:p>
      </dgm:t>
    </dgm:pt>
    <dgm:pt modelId="{34861C73-84B7-4C7E-84CC-93C0BD7BC295}" type="parTrans" cxnId="{E290CC0E-D1EE-4E85-B7BC-7DF57DC68A4B}">
      <dgm:prSet/>
      <dgm:spPr/>
      <dgm:t>
        <a:bodyPr/>
        <a:lstStyle/>
        <a:p>
          <a:endParaRPr lang="ru-RU"/>
        </a:p>
      </dgm:t>
    </dgm:pt>
    <dgm:pt modelId="{9F96B49A-1A9F-4CAD-A941-BC34247D3829}" type="sibTrans" cxnId="{E290CC0E-D1EE-4E85-B7BC-7DF57DC68A4B}">
      <dgm:prSet/>
      <dgm:spPr/>
      <dgm:t>
        <a:bodyPr/>
        <a:lstStyle/>
        <a:p>
          <a:endParaRPr lang="ru-RU"/>
        </a:p>
      </dgm:t>
    </dgm:pt>
    <dgm:pt modelId="{C4169FEA-BFC0-4528-BFEE-B414A849B2FD}">
      <dgm:prSet phldrT="[Текст]" custT="1"/>
      <dgm:spPr/>
      <dgm:t>
        <a:bodyPr/>
        <a:lstStyle/>
        <a:p>
          <a:r>
            <a:rPr lang="ru-RU" sz="1800" dirty="0"/>
            <a:t>Несоответствие лицензированной организации требованиям законодательства </a:t>
          </a:r>
          <a:r>
            <a:rPr lang="ru-RU" sz="1800" dirty="0">
              <a:solidFill>
                <a:schemeClr val="tx1"/>
              </a:solidFill>
            </a:rPr>
            <a:t>является основанием для отзыва лицензии</a:t>
          </a:r>
        </a:p>
      </dgm:t>
    </dgm:pt>
    <dgm:pt modelId="{CF69F6F5-61BB-4474-8172-9703B324135A}" type="parTrans" cxnId="{7FE99F0E-BB84-401D-9EA2-A02556A30AB1}">
      <dgm:prSet/>
      <dgm:spPr/>
      <dgm:t>
        <a:bodyPr/>
        <a:lstStyle/>
        <a:p>
          <a:endParaRPr lang="ru-RU"/>
        </a:p>
      </dgm:t>
    </dgm:pt>
    <dgm:pt modelId="{78564E54-FF9E-46B0-95FD-7AB90A3BFC8F}" type="sibTrans" cxnId="{7FE99F0E-BB84-401D-9EA2-A02556A30AB1}">
      <dgm:prSet/>
      <dgm:spPr/>
      <dgm:t>
        <a:bodyPr/>
        <a:lstStyle/>
        <a:p>
          <a:endParaRPr lang="ru-RU"/>
        </a:p>
      </dgm:t>
    </dgm:pt>
    <dgm:pt modelId="{E3E12400-E896-4237-9424-ED5AB3833059}">
      <dgm:prSet custT="1"/>
      <dgm:spPr/>
      <dgm:t>
        <a:bodyPr/>
        <a:lstStyle/>
        <a:p>
          <a:r>
            <a:rPr lang="ru-RU" sz="1800" dirty="0"/>
            <a:t>Федеральным законом от 15.04.2019 №58-ФЗ вводится ответственность за несвоевременное/недостоверное внесение данных в МДЛП в виде штрафа для должностных лиц в размере от 5 до 10 тыс. руб., для юрлиц – от 50 до 100 тыс. руб.</a:t>
          </a:r>
        </a:p>
      </dgm:t>
    </dgm:pt>
    <dgm:pt modelId="{E0CF4FA1-22FC-40A3-9CDA-88BEC910E316}" type="parTrans" cxnId="{84150272-841E-4D75-A982-A72CB78145F9}">
      <dgm:prSet/>
      <dgm:spPr/>
      <dgm:t>
        <a:bodyPr/>
        <a:lstStyle/>
        <a:p>
          <a:endParaRPr lang="ru-RU"/>
        </a:p>
      </dgm:t>
    </dgm:pt>
    <dgm:pt modelId="{2DBC9C76-2336-4445-A218-B0A0AED4765D}" type="sibTrans" cxnId="{84150272-841E-4D75-A982-A72CB78145F9}">
      <dgm:prSet/>
      <dgm:spPr/>
      <dgm:t>
        <a:bodyPr/>
        <a:lstStyle/>
        <a:p>
          <a:endParaRPr lang="ru-RU"/>
        </a:p>
      </dgm:t>
    </dgm:pt>
    <dgm:pt modelId="{4ADE554E-60CB-429C-976F-5B92802F0897}" type="pres">
      <dgm:prSet presAssocID="{982F8AF4-4CBC-4AB6-A2A2-B0F3EF039211}" presName="linear" presStyleCnt="0">
        <dgm:presLayoutVars>
          <dgm:animLvl val="lvl"/>
          <dgm:resizeHandles val="exact"/>
        </dgm:presLayoutVars>
      </dgm:prSet>
      <dgm:spPr/>
    </dgm:pt>
    <dgm:pt modelId="{AE4812DB-8499-4208-A007-FF2E8764283D}" type="pres">
      <dgm:prSet presAssocID="{BA8F8CD4-4453-402F-9903-44C0B4FF1F15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65C3D534-82FA-4D0A-910A-2A82E8A866D8}" type="pres">
      <dgm:prSet presAssocID="{BA8F8CD4-4453-402F-9903-44C0B4FF1F15}" presName="childText" presStyleLbl="revTx" presStyleIdx="0" presStyleCnt="2">
        <dgm:presLayoutVars>
          <dgm:bulletEnabled val="1"/>
        </dgm:presLayoutVars>
      </dgm:prSet>
      <dgm:spPr/>
    </dgm:pt>
    <dgm:pt modelId="{19911EC7-65D6-466D-96EE-53C9172D758B}" type="pres">
      <dgm:prSet presAssocID="{0C653AE6-F611-4EA8-9553-47CD6C7F8E4D}" presName="parentText" presStyleLbl="node1" presStyleIdx="1" presStyleCnt="2" custLinFactNeighborX="-575" custLinFactNeighborY="-2422">
        <dgm:presLayoutVars>
          <dgm:chMax val="0"/>
          <dgm:bulletEnabled val="1"/>
        </dgm:presLayoutVars>
      </dgm:prSet>
      <dgm:spPr/>
    </dgm:pt>
    <dgm:pt modelId="{932D7A56-44CC-4119-8ADE-C5D15F0193CA}" type="pres">
      <dgm:prSet presAssocID="{0C653AE6-F611-4EA8-9553-47CD6C7F8E4D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7FE99F0E-BB84-401D-9EA2-A02556A30AB1}" srcId="{0C653AE6-F611-4EA8-9553-47CD6C7F8E4D}" destId="{C4169FEA-BFC0-4528-BFEE-B414A849B2FD}" srcOrd="2" destOrd="0" parTransId="{CF69F6F5-61BB-4474-8172-9703B324135A}" sibTransId="{78564E54-FF9E-46B0-95FD-7AB90A3BFC8F}"/>
    <dgm:cxn modelId="{E290CC0E-D1EE-4E85-B7BC-7DF57DC68A4B}" srcId="{0C653AE6-F611-4EA8-9553-47CD6C7F8E4D}" destId="{CEE30BDE-4137-4431-B630-E5FAACE1C1C4}" srcOrd="0" destOrd="0" parTransId="{34861C73-84B7-4C7E-84CC-93C0BD7BC295}" sibTransId="{9F96B49A-1A9F-4CAD-A941-BC34247D3829}"/>
    <dgm:cxn modelId="{0D1BD712-267A-426B-A6A4-7ED7DFC53BEC}" srcId="{982F8AF4-4CBC-4AB6-A2A2-B0F3EF039211}" destId="{0C653AE6-F611-4EA8-9553-47CD6C7F8E4D}" srcOrd="1" destOrd="0" parTransId="{DD17DB10-1D1A-4433-A91A-0BD762C7B5B1}" sibTransId="{C5A27D77-C2D6-4773-B8A4-869FE2D81F00}"/>
    <dgm:cxn modelId="{7065441F-87F2-46DC-92D2-A178F27CBEBC}" type="presOf" srcId="{C4169FEA-BFC0-4528-BFEE-B414A849B2FD}" destId="{932D7A56-44CC-4119-8ADE-C5D15F0193CA}" srcOrd="0" destOrd="2" presId="urn:microsoft.com/office/officeart/2005/8/layout/vList2"/>
    <dgm:cxn modelId="{C8254F33-64B7-4DCD-A0AB-9819AAA70B5C}" type="presOf" srcId="{BA8F8CD4-4453-402F-9903-44C0B4FF1F15}" destId="{AE4812DB-8499-4208-A007-FF2E8764283D}" srcOrd="0" destOrd="0" presId="urn:microsoft.com/office/officeart/2005/8/layout/vList2"/>
    <dgm:cxn modelId="{B2668B38-C48B-424E-B83C-357678BA8DCA}" type="presOf" srcId="{982F8AF4-4CBC-4AB6-A2A2-B0F3EF039211}" destId="{4ADE554E-60CB-429C-976F-5B92802F0897}" srcOrd="0" destOrd="0" presId="urn:microsoft.com/office/officeart/2005/8/layout/vList2"/>
    <dgm:cxn modelId="{25759C45-764E-4270-AF88-A71278CEC80E}" srcId="{0C653AE6-F611-4EA8-9553-47CD6C7F8E4D}" destId="{66C8F5D4-C461-4744-A99C-DE3686481285}" srcOrd="1" destOrd="0" parTransId="{B237C744-E405-47CB-907A-8A41E322DD16}" sibTransId="{A901AC20-F5C6-4EE8-B6A7-7608C72CDC4C}"/>
    <dgm:cxn modelId="{84150272-841E-4D75-A982-A72CB78145F9}" srcId="{0C653AE6-F611-4EA8-9553-47CD6C7F8E4D}" destId="{E3E12400-E896-4237-9424-ED5AB3833059}" srcOrd="3" destOrd="0" parTransId="{E0CF4FA1-22FC-40A3-9CDA-88BEC910E316}" sibTransId="{2DBC9C76-2336-4445-A218-B0A0AED4765D}"/>
    <dgm:cxn modelId="{1C11CD53-0BBB-470C-917C-982565DC30CC}" srcId="{982F8AF4-4CBC-4AB6-A2A2-B0F3EF039211}" destId="{BA8F8CD4-4453-402F-9903-44C0B4FF1F15}" srcOrd="0" destOrd="0" parTransId="{B37E0C5F-84C1-4D55-AC37-C68AC188E47B}" sibTransId="{9F49064D-C638-4F07-BDE1-8C5BCA3736FB}"/>
    <dgm:cxn modelId="{68843A54-109B-4980-837E-910896013B6E}" srcId="{BA8F8CD4-4453-402F-9903-44C0B4FF1F15}" destId="{59230339-3C66-4B3C-8351-7ECD1B9B88BB}" srcOrd="0" destOrd="0" parTransId="{14270C62-A1C8-43B4-BE08-8DADC64E58BD}" sibTransId="{51E940A6-99F8-453A-8F7A-0E56991A35EC}"/>
    <dgm:cxn modelId="{F686CA75-93AA-4F25-B2C8-EBA58B6DE62F}" type="presOf" srcId="{59230339-3C66-4B3C-8351-7ECD1B9B88BB}" destId="{65C3D534-82FA-4D0A-910A-2A82E8A866D8}" srcOrd="0" destOrd="0" presId="urn:microsoft.com/office/officeart/2005/8/layout/vList2"/>
    <dgm:cxn modelId="{A4B36886-C924-4766-A70F-16A1461EFD19}" type="presOf" srcId="{0C653AE6-F611-4EA8-9553-47CD6C7F8E4D}" destId="{19911EC7-65D6-466D-96EE-53C9172D758B}" srcOrd="0" destOrd="0" presId="urn:microsoft.com/office/officeart/2005/8/layout/vList2"/>
    <dgm:cxn modelId="{9212038A-84C6-4A63-BD80-101B90498815}" type="presOf" srcId="{CEE30BDE-4137-4431-B630-E5FAACE1C1C4}" destId="{932D7A56-44CC-4119-8ADE-C5D15F0193CA}" srcOrd="0" destOrd="0" presId="urn:microsoft.com/office/officeart/2005/8/layout/vList2"/>
    <dgm:cxn modelId="{771AB492-6343-4406-8D08-2FC7C35052FE}" type="presOf" srcId="{66C8F5D4-C461-4744-A99C-DE3686481285}" destId="{932D7A56-44CC-4119-8ADE-C5D15F0193CA}" srcOrd="0" destOrd="1" presId="urn:microsoft.com/office/officeart/2005/8/layout/vList2"/>
    <dgm:cxn modelId="{A7BE4094-DB10-4FD9-9B19-670A26DD7229}" type="presOf" srcId="{11C042FB-B1AE-43E9-9A7C-5AEEDE35C35B}" destId="{65C3D534-82FA-4D0A-910A-2A82E8A866D8}" srcOrd="0" destOrd="2" presId="urn:microsoft.com/office/officeart/2005/8/layout/vList2"/>
    <dgm:cxn modelId="{AE347DA9-1FE3-456C-8B5B-E099E277C1CA}" srcId="{BA8F8CD4-4453-402F-9903-44C0B4FF1F15}" destId="{11C042FB-B1AE-43E9-9A7C-5AEEDE35C35B}" srcOrd="2" destOrd="0" parTransId="{55501AD5-B379-400E-AE09-974D7440A08F}" sibTransId="{0726AF9A-08FC-4F1C-8492-0E1A3CDB4322}"/>
    <dgm:cxn modelId="{2B8F8FC2-DFE8-445A-B97F-B6276B71AC52}" type="presOf" srcId="{B091AD9C-1730-45F3-8C70-3A3D3EFA1359}" destId="{65C3D534-82FA-4D0A-910A-2A82E8A866D8}" srcOrd="0" destOrd="1" presId="urn:microsoft.com/office/officeart/2005/8/layout/vList2"/>
    <dgm:cxn modelId="{4947F7EB-501A-49BD-8FFA-E894C894C758}" srcId="{BA8F8CD4-4453-402F-9903-44C0B4FF1F15}" destId="{B091AD9C-1730-45F3-8C70-3A3D3EFA1359}" srcOrd="1" destOrd="0" parTransId="{8DB3B53D-6C1B-4ACD-91E9-B35250C34116}" sibTransId="{4A38E1D1-234A-407E-8A0D-7125BA88C1DA}"/>
    <dgm:cxn modelId="{8CA9BFF3-AD97-4E3A-8A13-39F42029AF26}" type="presOf" srcId="{E3E12400-E896-4237-9424-ED5AB3833059}" destId="{932D7A56-44CC-4119-8ADE-C5D15F0193CA}" srcOrd="0" destOrd="3" presId="urn:microsoft.com/office/officeart/2005/8/layout/vList2"/>
    <dgm:cxn modelId="{B5F50E30-8CCC-45E0-97BD-F0E0F2938083}" type="presParOf" srcId="{4ADE554E-60CB-429C-976F-5B92802F0897}" destId="{AE4812DB-8499-4208-A007-FF2E8764283D}" srcOrd="0" destOrd="0" presId="urn:microsoft.com/office/officeart/2005/8/layout/vList2"/>
    <dgm:cxn modelId="{A9C80514-3359-4D82-B921-128232CB9B36}" type="presParOf" srcId="{4ADE554E-60CB-429C-976F-5B92802F0897}" destId="{65C3D534-82FA-4D0A-910A-2A82E8A866D8}" srcOrd="1" destOrd="0" presId="urn:microsoft.com/office/officeart/2005/8/layout/vList2"/>
    <dgm:cxn modelId="{9026D274-7C1D-4FFF-AB8B-2C472D056551}" type="presParOf" srcId="{4ADE554E-60CB-429C-976F-5B92802F0897}" destId="{19911EC7-65D6-466D-96EE-53C9172D758B}" srcOrd="2" destOrd="0" presId="urn:microsoft.com/office/officeart/2005/8/layout/vList2"/>
    <dgm:cxn modelId="{BC0CB18F-C4DA-4143-9E5D-874E459ADDE0}" type="presParOf" srcId="{4ADE554E-60CB-429C-976F-5B92802F0897}" destId="{932D7A56-44CC-4119-8ADE-C5D15F0193CA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6CA4D3E-065F-41DB-ACC4-EC6689F0F38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CF9CBA8-1381-4C0E-AF07-0B4DF8EF337B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1800" b="1" dirty="0">
              <a:solidFill>
                <a:srgbClr val="58595B"/>
              </a:solidFill>
            </a:rPr>
            <a:t>ЧестныйЗНАК.РФ -</a:t>
          </a:r>
          <a:r>
            <a:rPr lang="en-US" sz="1800" b="1" dirty="0">
              <a:solidFill>
                <a:srgbClr val="58595B"/>
              </a:solidFill>
            </a:rPr>
            <a:t>&gt;</a:t>
          </a:r>
          <a:r>
            <a:rPr lang="ru-RU" sz="1800" b="1" dirty="0">
              <a:solidFill>
                <a:srgbClr val="58595B"/>
              </a:solidFill>
            </a:rPr>
            <a:t> Бизнесу -</a:t>
          </a:r>
          <a:r>
            <a:rPr lang="en-US" sz="1800" b="1" dirty="0">
              <a:solidFill>
                <a:srgbClr val="58595B"/>
              </a:solidFill>
            </a:rPr>
            <a:t>&gt;</a:t>
          </a:r>
          <a:r>
            <a:rPr lang="ru-RU" sz="1800" b="1" dirty="0">
              <a:solidFill>
                <a:srgbClr val="58595B"/>
              </a:solidFill>
            </a:rPr>
            <a:t> Маркировка и эксперименты -</a:t>
          </a:r>
          <a:r>
            <a:rPr lang="en-US" sz="1800" b="1" dirty="0">
              <a:solidFill>
                <a:srgbClr val="58595B"/>
              </a:solidFill>
            </a:rPr>
            <a:t>&gt; </a:t>
          </a:r>
          <a:r>
            <a:rPr lang="ru-RU" sz="1800" b="1" dirty="0">
              <a:solidFill>
                <a:srgbClr val="58595B"/>
              </a:solidFill>
            </a:rPr>
            <a:t>Маркировка лекарств</a:t>
          </a:r>
        </a:p>
      </dgm:t>
    </dgm:pt>
    <dgm:pt modelId="{D393C8B6-6AF2-449F-A2DB-6C12C1148B0F}" type="parTrans" cxnId="{78BCC36D-D84B-43A5-86C5-98F2241E78C4}">
      <dgm:prSet/>
      <dgm:spPr/>
      <dgm:t>
        <a:bodyPr/>
        <a:lstStyle/>
        <a:p>
          <a:endParaRPr lang="ru-RU"/>
        </a:p>
      </dgm:t>
    </dgm:pt>
    <dgm:pt modelId="{CDC80C5D-2EAD-489B-8050-E8A688C87BB7}" type="sibTrans" cxnId="{78BCC36D-D84B-43A5-86C5-98F2241E78C4}">
      <dgm:prSet/>
      <dgm:spPr/>
      <dgm:t>
        <a:bodyPr/>
        <a:lstStyle/>
        <a:p>
          <a:endParaRPr lang="ru-RU"/>
        </a:p>
      </dgm:t>
    </dgm:pt>
    <dgm:pt modelId="{E883769F-6ADC-4C71-9F95-BB07E2E8FDA1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800" dirty="0"/>
            <a:t>В подразделе «Документы -</a:t>
          </a:r>
          <a:r>
            <a:rPr lang="en-US" sz="1800" dirty="0"/>
            <a:t>&gt;</a:t>
          </a:r>
          <a:r>
            <a:rPr lang="ru-RU" sz="1800" dirty="0"/>
            <a:t> Основные действия участников МДЛП» в документах «</a:t>
          </a:r>
          <a:r>
            <a:rPr lang="ru-RU" sz="1800" i="0" u="sng" dirty="0"/>
            <a:t>Инструкция по подключению </a:t>
          </a:r>
          <a:r>
            <a:rPr lang="ru-RU" sz="1800" i="0" u="sng" dirty="0" err="1"/>
            <a:t>медорганизаций</a:t>
          </a:r>
          <a:r>
            <a:rPr lang="ru-RU" sz="1800" i="0" u="sng" dirty="0"/>
            <a:t> и аптек</a:t>
          </a:r>
          <a:r>
            <a:rPr lang="ru-RU" sz="1800" dirty="0"/>
            <a:t>» и  «</a:t>
          </a:r>
          <a:r>
            <a:rPr lang="ru-RU" sz="1800" u="sng" dirty="0"/>
            <a:t>Руководство пользователя личного кабинета участника обращения лекарственных препаратов</a:t>
          </a:r>
          <a:r>
            <a:rPr lang="ru-RU" sz="1800" dirty="0"/>
            <a:t>» описаны необходимые для начала работы действия.</a:t>
          </a:r>
        </a:p>
      </dgm:t>
    </dgm:pt>
    <dgm:pt modelId="{24AD54F2-D428-46C1-818F-01C01350A3DE}" type="parTrans" cxnId="{34C70C59-DFA9-4917-AC3B-56BAF3D7A5D1}">
      <dgm:prSet/>
      <dgm:spPr/>
      <dgm:t>
        <a:bodyPr/>
        <a:lstStyle/>
        <a:p>
          <a:endParaRPr lang="ru-RU"/>
        </a:p>
      </dgm:t>
    </dgm:pt>
    <dgm:pt modelId="{60FAD85F-65CB-4473-BB07-A2BF070F558D}" type="sibTrans" cxnId="{34C70C59-DFA9-4917-AC3B-56BAF3D7A5D1}">
      <dgm:prSet/>
      <dgm:spPr/>
      <dgm:t>
        <a:bodyPr/>
        <a:lstStyle/>
        <a:p>
          <a:endParaRPr lang="ru-RU"/>
        </a:p>
      </dgm:t>
    </dgm:pt>
    <dgm:pt modelId="{A9A7FCD6-B37C-497A-97DA-CADB64F7CE1B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800" dirty="0"/>
            <a:t>В подразделе «Документы -</a:t>
          </a:r>
          <a:r>
            <a:rPr lang="en-US" sz="1800" dirty="0"/>
            <a:t>&gt;</a:t>
          </a:r>
          <a:br>
            <a:rPr lang="ru-RU" sz="1800" dirty="0"/>
          </a:br>
          <a:r>
            <a:rPr lang="ru-RU" sz="1800" dirty="0"/>
            <a:t>Основные действия участников</a:t>
          </a:r>
          <a:br>
            <a:rPr lang="ru-RU" sz="1800" dirty="0"/>
          </a:br>
          <a:r>
            <a:rPr lang="ru-RU" sz="1800" dirty="0"/>
            <a:t>МДЛП» содержатся документы,</a:t>
          </a:r>
          <a:br>
            <a:rPr lang="ru-RU" sz="1800" dirty="0"/>
          </a:br>
          <a:r>
            <a:rPr lang="ru-RU" sz="1800" dirty="0"/>
            <a:t>которые необходимо прочитать</a:t>
          </a:r>
          <a:br>
            <a:rPr lang="ru-RU" sz="1800" dirty="0"/>
          </a:br>
          <a:r>
            <a:rPr lang="ru-RU" sz="1800" dirty="0"/>
            <a:t>для начала работы в системе:</a:t>
          </a:r>
          <a:br>
            <a:rPr lang="ru-RU" sz="1800" dirty="0"/>
          </a:br>
          <a:r>
            <a:rPr lang="ru-RU" sz="1800" dirty="0"/>
            <a:t>«</a:t>
          </a:r>
          <a:r>
            <a:rPr lang="ru-RU" sz="1800" u="sng" dirty="0"/>
            <a:t>Описание бизнес-процессов</a:t>
          </a:r>
          <a:r>
            <a:rPr lang="ru-RU" sz="1800" dirty="0"/>
            <a:t>»,</a:t>
          </a:r>
          <a:br>
            <a:rPr lang="ru-RU" sz="1800" dirty="0"/>
          </a:br>
          <a:r>
            <a:rPr lang="ru-RU" sz="1800" dirty="0"/>
            <a:t>«Порядок регистрации </a:t>
          </a:r>
          <a:br>
            <a:rPr lang="ru-RU" sz="1800" dirty="0"/>
          </a:br>
          <a:r>
            <a:rPr lang="ru-RU" sz="1800" dirty="0"/>
            <a:t>сведений при передаче ЛП», </a:t>
          </a:r>
          <a:br>
            <a:rPr lang="ru-RU" sz="1800" dirty="0"/>
          </a:br>
          <a:r>
            <a:rPr lang="ru-RU" sz="1800" dirty="0"/>
            <a:t>«Порядок вывода ЛП </a:t>
          </a:r>
          <a:br>
            <a:rPr lang="ru-RU" sz="1800" dirty="0"/>
          </a:br>
          <a:r>
            <a:rPr lang="ru-RU" sz="1800" dirty="0"/>
            <a:t>из оборота», </a:t>
          </a:r>
          <a:br>
            <a:rPr lang="ru-RU" sz="1800" dirty="0"/>
          </a:br>
          <a:r>
            <a:rPr lang="ru-RU" sz="1800" dirty="0"/>
            <a:t>«Описание схем </a:t>
          </a:r>
          <a:r>
            <a:rPr lang="en-US" sz="1800" dirty="0"/>
            <a:t>XSD</a:t>
          </a:r>
          <a:r>
            <a:rPr lang="ru-RU" sz="1800" dirty="0"/>
            <a:t>»</a:t>
          </a:r>
        </a:p>
      </dgm:t>
    </dgm:pt>
    <dgm:pt modelId="{2A040522-3F2C-4801-AD10-0D3AAB0DD3BB}" type="parTrans" cxnId="{DFFC2E68-2A14-41BB-AECB-7EC6A67F34CE}">
      <dgm:prSet/>
      <dgm:spPr/>
      <dgm:t>
        <a:bodyPr/>
        <a:lstStyle/>
        <a:p>
          <a:endParaRPr lang="ru-RU"/>
        </a:p>
      </dgm:t>
    </dgm:pt>
    <dgm:pt modelId="{3A6CB4D9-2031-4E06-805A-7FB3FE959AB1}" type="sibTrans" cxnId="{DFFC2E68-2A14-41BB-AECB-7EC6A67F34CE}">
      <dgm:prSet/>
      <dgm:spPr/>
      <dgm:t>
        <a:bodyPr/>
        <a:lstStyle/>
        <a:p>
          <a:endParaRPr lang="ru-RU"/>
        </a:p>
      </dgm:t>
    </dgm:pt>
    <dgm:pt modelId="{6CD5C316-1DDD-4D96-BAE3-062DCAAC66EB}" type="pres">
      <dgm:prSet presAssocID="{36CA4D3E-065F-41DB-ACC4-EC6689F0F384}" presName="linear" presStyleCnt="0">
        <dgm:presLayoutVars>
          <dgm:animLvl val="lvl"/>
          <dgm:resizeHandles val="exact"/>
        </dgm:presLayoutVars>
      </dgm:prSet>
      <dgm:spPr/>
    </dgm:pt>
    <dgm:pt modelId="{48AE99E9-6AC0-4BE1-ADC4-B7A9AA0963DB}" type="pres">
      <dgm:prSet presAssocID="{9CF9CBA8-1381-4C0E-AF07-0B4DF8EF337B}" presName="parentText" presStyleLbl="node1" presStyleIdx="0" presStyleCnt="1" custScaleY="34499">
        <dgm:presLayoutVars>
          <dgm:chMax val="0"/>
          <dgm:bulletEnabled val="1"/>
        </dgm:presLayoutVars>
      </dgm:prSet>
      <dgm:spPr/>
    </dgm:pt>
    <dgm:pt modelId="{0DE61F2F-E993-4BC6-841C-810E4E79B3FB}" type="pres">
      <dgm:prSet presAssocID="{9CF9CBA8-1381-4C0E-AF07-0B4DF8EF337B}" presName="childText" presStyleLbl="revTx" presStyleIdx="0" presStyleCnt="1" custScaleY="104091" custLinFactNeighborX="0" custLinFactNeighborY="15348">
        <dgm:presLayoutVars>
          <dgm:bulletEnabled val="1"/>
        </dgm:presLayoutVars>
      </dgm:prSet>
      <dgm:spPr/>
    </dgm:pt>
  </dgm:ptLst>
  <dgm:cxnLst>
    <dgm:cxn modelId="{9425A928-DAF0-4403-BDE4-98919A888BA1}" type="presOf" srcId="{36CA4D3E-065F-41DB-ACC4-EC6689F0F384}" destId="{6CD5C316-1DDD-4D96-BAE3-062DCAAC66EB}" srcOrd="0" destOrd="0" presId="urn:microsoft.com/office/officeart/2005/8/layout/vList2"/>
    <dgm:cxn modelId="{DFFC2E68-2A14-41BB-AECB-7EC6A67F34CE}" srcId="{9CF9CBA8-1381-4C0E-AF07-0B4DF8EF337B}" destId="{A9A7FCD6-B37C-497A-97DA-CADB64F7CE1B}" srcOrd="1" destOrd="0" parTransId="{2A040522-3F2C-4801-AD10-0D3AAB0DD3BB}" sibTransId="{3A6CB4D9-2031-4E06-805A-7FB3FE959AB1}"/>
    <dgm:cxn modelId="{78BCC36D-D84B-43A5-86C5-98F2241E78C4}" srcId="{36CA4D3E-065F-41DB-ACC4-EC6689F0F384}" destId="{9CF9CBA8-1381-4C0E-AF07-0B4DF8EF337B}" srcOrd="0" destOrd="0" parTransId="{D393C8B6-6AF2-449F-A2DB-6C12C1148B0F}" sibTransId="{CDC80C5D-2EAD-489B-8050-E8A688C87BB7}"/>
    <dgm:cxn modelId="{D05CD170-423C-47F5-BED3-402CF2743813}" type="presOf" srcId="{E883769F-6ADC-4C71-9F95-BB07E2E8FDA1}" destId="{0DE61F2F-E993-4BC6-841C-810E4E79B3FB}" srcOrd="0" destOrd="0" presId="urn:microsoft.com/office/officeart/2005/8/layout/vList2"/>
    <dgm:cxn modelId="{34C70C59-DFA9-4917-AC3B-56BAF3D7A5D1}" srcId="{9CF9CBA8-1381-4C0E-AF07-0B4DF8EF337B}" destId="{E883769F-6ADC-4C71-9F95-BB07E2E8FDA1}" srcOrd="0" destOrd="0" parTransId="{24AD54F2-D428-46C1-818F-01C01350A3DE}" sibTransId="{60FAD85F-65CB-4473-BB07-A2BF070F558D}"/>
    <dgm:cxn modelId="{2BAC74C1-82C6-4F9A-8F22-579BA3A994A2}" type="presOf" srcId="{A9A7FCD6-B37C-497A-97DA-CADB64F7CE1B}" destId="{0DE61F2F-E993-4BC6-841C-810E4E79B3FB}" srcOrd="0" destOrd="1" presId="urn:microsoft.com/office/officeart/2005/8/layout/vList2"/>
    <dgm:cxn modelId="{DA3C3ACC-B7C4-4AD5-ADBE-69928A4C69C1}" type="presOf" srcId="{9CF9CBA8-1381-4C0E-AF07-0B4DF8EF337B}" destId="{48AE99E9-6AC0-4BE1-ADC4-B7A9AA0963DB}" srcOrd="0" destOrd="0" presId="urn:microsoft.com/office/officeart/2005/8/layout/vList2"/>
    <dgm:cxn modelId="{5A07BA1F-4EA8-4F20-BE2C-3461D476FE27}" type="presParOf" srcId="{6CD5C316-1DDD-4D96-BAE3-062DCAAC66EB}" destId="{48AE99E9-6AC0-4BE1-ADC4-B7A9AA0963DB}" srcOrd="0" destOrd="0" presId="urn:microsoft.com/office/officeart/2005/8/layout/vList2"/>
    <dgm:cxn modelId="{F487A47B-8B5C-47F3-8DE5-87CE8BE8F440}" type="presParOf" srcId="{6CD5C316-1DDD-4D96-BAE3-062DCAAC66EB}" destId="{0DE61F2F-E993-4BC6-841C-810E4E79B3FB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AE99E9-6AC0-4BE1-ADC4-B7A9AA0963DB}">
      <dsp:nvSpPr>
        <dsp:cNvPr id="0" name=""/>
        <dsp:cNvSpPr/>
      </dsp:nvSpPr>
      <dsp:spPr>
        <a:xfrm>
          <a:off x="0" y="4510"/>
          <a:ext cx="11051587" cy="514571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Способ 1: </a:t>
          </a:r>
          <a:r>
            <a:rPr lang="en-US" sz="2300" b="1" kern="1200" dirty="0">
              <a:solidFill>
                <a:srgbClr val="58595B"/>
              </a:solidFill>
            </a:rPr>
            <a:t>1.1. </a:t>
          </a:r>
          <a:r>
            <a:rPr lang="ru-RU" sz="2300" b="1" kern="1200" dirty="0">
              <a:solidFill>
                <a:srgbClr val="58595B"/>
              </a:solidFill>
            </a:rPr>
            <a:t>через ЛК МДЛП или </a:t>
          </a:r>
          <a:r>
            <a:rPr lang="en-US" sz="2300" b="1" kern="1200" dirty="0">
              <a:solidFill>
                <a:srgbClr val="58595B"/>
              </a:solidFill>
            </a:rPr>
            <a:t>1.2. </a:t>
          </a:r>
          <a:r>
            <a:rPr lang="ru-RU" sz="2300" b="1" kern="1200" dirty="0">
              <a:solidFill>
                <a:srgbClr val="58595B"/>
              </a:solidFill>
            </a:rPr>
            <a:t>через </a:t>
          </a:r>
          <a:r>
            <a:rPr lang="en-US" sz="2300" b="1" kern="1200" dirty="0">
              <a:solidFill>
                <a:srgbClr val="58595B"/>
              </a:solidFill>
            </a:rPr>
            <a:t>API </a:t>
          </a:r>
          <a:r>
            <a:rPr lang="ru-RU" sz="2300" b="1" kern="1200" dirty="0">
              <a:solidFill>
                <a:srgbClr val="58595B"/>
              </a:solidFill>
            </a:rPr>
            <a:t>МДЛП</a:t>
          </a:r>
        </a:p>
      </dsp:txBody>
      <dsp:txXfrm>
        <a:off x="25119" y="29629"/>
        <a:ext cx="11001349" cy="464333"/>
      </dsp:txXfrm>
    </dsp:sp>
    <dsp:sp modelId="{0DE61F2F-E993-4BC6-841C-810E4E79B3FB}">
      <dsp:nvSpPr>
        <dsp:cNvPr id="0" name=""/>
        <dsp:cNvSpPr/>
      </dsp:nvSpPr>
      <dsp:spPr>
        <a:xfrm>
          <a:off x="0" y="519082"/>
          <a:ext cx="11051587" cy="2972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0888" tIns="22860" rIns="128016" bIns="2286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en-US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3</a:t>
          </a: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.9.2. Повторный ввод в оборот ЛП, ранее выведенных из оборота по различным причинам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4. Раздел «Оборот лекарственных препаратов».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4. Передача на уничтожение и уничтожение лекарственных препаратов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5. Вывод лекарственного препарата из оборота по различным причинам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7. Раздел «Временный вывод из обращения»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9.2. Расформирование (уничтожение) третичной упаковки лекарственных препаратов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10. Отмена зарегистрированных операций, отзыв лекарственных препаратов и отказ в приемке лекарственных препаратов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Arial" panose="020B0604020202020204" pitchFamily="34" charset="0"/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Другие разделы, в зависимости от особенностей конкретной организации.</a:t>
          </a:r>
        </a:p>
      </dsp:txBody>
      <dsp:txXfrm>
        <a:off x="0" y="519082"/>
        <a:ext cx="11051587" cy="2972719"/>
      </dsp:txXfrm>
    </dsp:sp>
    <dsp:sp modelId="{A1CF04D7-A973-4019-A9A3-AA935A41830C}">
      <dsp:nvSpPr>
        <dsp:cNvPr id="0" name=""/>
        <dsp:cNvSpPr/>
      </dsp:nvSpPr>
      <dsp:spPr>
        <a:xfrm>
          <a:off x="0" y="3491801"/>
          <a:ext cx="11051587" cy="514571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Способ 2:</a:t>
          </a:r>
          <a:r>
            <a:rPr lang="en-US" sz="2300" b="1" kern="1200" dirty="0">
              <a:solidFill>
                <a:srgbClr val="58595B"/>
              </a:solidFill>
            </a:rPr>
            <a:t> 2.1. </a:t>
          </a:r>
          <a:r>
            <a:rPr lang="ru-RU" sz="2300" b="1" kern="1200" dirty="0">
              <a:solidFill>
                <a:srgbClr val="58595B"/>
              </a:solidFill>
            </a:rPr>
            <a:t>через ККТ или </a:t>
          </a:r>
          <a:r>
            <a:rPr lang="en-US" sz="2300" b="1" kern="1200" dirty="0">
              <a:solidFill>
                <a:srgbClr val="58595B"/>
              </a:solidFill>
            </a:rPr>
            <a:t>2.2. </a:t>
          </a:r>
          <a:r>
            <a:rPr lang="ru-RU" sz="2300" b="1" kern="1200" dirty="0">
              <a:solidFill>
                <a:srgbClr val="58595B"/>
              </a:solidFill>
            </a:rPr>
            <a:t>через регистраторы выбытия (РВ)</a:t>
          </a:r>
        </a:p>
      </dsp:txBody>
      <dsp:txXfrm>
        <a:off x="25119" y="3516920"/>
        <a:ext cx="11001349" cy="464333"/>
      </dsp:txXfrm>
    </dsp:sp>
    <dsp:sp modelId="{01F7CC9E-425B-467E-B4F3-BFAB6ED87B8F}">
      <dsp:nvSpPr>
        <dsp:cNvPr id="0" name=""/>
        <dsp:cNvSpPr/>
      </dsp:nvSpPr>
      <dsp:spPr>
        <a:xfrm>
          <a:off x="0" y="4006372"/>
          <a:ext cx="11051587" cy="10404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0888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1. Продажа лекарственного препарата в рамках розничной торговли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2. Отпуск лекарственных препаратов по льготному рецепту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800" b="0" u="none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5.3. Отпуск лекарственных препаратов для оказания медицинской помощи</a:t>
          </a:r>
        </a:p>
      </dsp:txBody>
      <dsp:txXfrm>
        <a:off x="0" y="4006372"/>
        <a:ext cx="11051587" cy="10404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AE99E9-6AC0-4BE1-ADC4-B7A9AA0963DB}">
      <dsp:nvSpPr>
        <dsp:cNvPr id="0" name=""/>
        <dsp:cNvSpPr/>
      </dsp:nvSpPr>
      <dsp:spPr>
        <a:xfrm>
          <a:off x="0" y="239082"/>
          <a:ext cx="11051587" cy="427635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solidFill>
                <a:srgbClr val="58595B"/>
              </a:solidFill>
            </a:rPr>
            <a:t>Что? </a:t>
          </a:r>
          <a:r>
            <a:rPr lang="ru-RU" sz="1700" b="0" kern="1200" dirty="0">
              <a:solidFill>
                <a:srgbClr val="58595B"/>
              </a:solidFill>
            </a:rPr>
            <a:t>Описание форматов данных</a:t>
          </a:r>
        </a:p>
      </dsp:txBody>
      <dsp:txXfrm>
        <a:off x="20875" y="259957"/>
        <a:ext cx="11009837" cy="385885"/>
      </dsp:txXfrm>
    </dsp:sp>
    <dsp:sp modelId="{0DE61F2F-E993-4BC6-841C-810E4E79B3FB}">
      <dsp:nvSpPr>
        <dsp:cNvPr id="0" name=""/>
        <dsp:cNvSpPr/>
      </dsp:nvSpPr>
      <dsp:spPr>
        <a:xfrm>
          <a:off x="0" y="666717"/>
          <a:ext cx="11051587" cy="9677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0888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300" b="1" kern="1200" dirty="0"/>
            <a:t>Приказ ФНС от 21 марта 2017 г. N ММВ-7-20/229@</a:t>
          </a:r>
          <a:r>
            <a:rPr lang="ru-RU" sz="1300" kern="1200" dirty="0"/>
            <a:t> «Об утверждении дополнительных реквизитов фискальных документов и форматов фискальных документов, обязательных к использованию» определяет формат данных, передаваемых ККТ (далее – Приказ ФНС)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300" b="1" kern="1200" dirty="0"/>
            <a:t>Документ «Описание схем </a:t>
          </a:r>
          <a:r>
            <a:rPr lang="en-US" sz="1300" b="1" kern="1200" dirty="0"/>
            <a:t>XSD</a:t>
          </a:r>
          <a:r>
            <a:rPr lang="ru-RU" sz="1300" b="1" kern="1200" dirty="0"/>
            <a:t>»</a:t>
          </a:r>
          <a:r>
            <a:rPr lang="ru-RU" sz="1300" b="0" kern="1200" dirty="0"/>
            <a:t>, опубликованный на сайте Оператора системы, устанавливает форматы данных ИС МДЛП</a:t>
          </a:r>
          <a:endParaRPr lang="ru-RU" sz="1300" b="0" u="sng" kern="1200" dirty="0"/>
        </a:p>
      </dsp:txBody>
      <dsp:txXfrm>
        <a:off x="0" y="666717"/>
        <a:ext cx="11051587" cy="967725"/>
      </dsp:txXfrm>
    </dsp:sp>
    <dsp:sp modelId="{A1CF04D7-A973-4019-A9A3-AA935A41830C}">
      <dsp:nvSpPr>
        <dsp:cNvPr id="0" name=""/>
        <dsp:cNvSpPr/>
      </dsp:nvSpPr>
      <dsp:spPr>
        <a:xfrm>
          <a:off x="0" y="1634442"/>
          <a:ext cx="11051587" cy="427635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solidFill>
                <a:srgbClr val="58595B"/>
              </a:solidFill>
            </a:rPr>
            <a:t>Когда? </a:t>
          </a:r>
          <a:r>
            <a:rPr lang="ru-RU" sz="1700" b="0" kern="1200" dirty="0">
              <a:solidFill>
                <a:srgbClr val="58595B"/>
              </a:solidFill>
            </a:rPr>
            <a:t>Регламент информационного обмена</a:t>
          </a:r>
        </a:p>
      </dsp:txBody>
      <dsp:txXfrm>
        <a:off x="20875" y="1655317"/>
        <a:ext cx="11009837" cy="385885"/>
      </dsp:txXfrm>
    </dsp:sp>
    <dsp:sp modelId="{01F7CC9E-425B-467E-B4F3-BFAB6ED87B8F}">
      <dsp:nvSpPr>
        <dsp:cNvPr id="0" name=""/>
        <dsp:cNvSpPr/>
      </dsp:nvSpPr>
      <dsp:spPr>
        <a:xfrm>
          <a:off x="0" y="2062077"/>
          <a:ext cx="11051587" cy="1161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0888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300" b="1" u="none" kern="1200" dirty="0"/>
            <a:t>Федеральный закон от 22 мая 2003 года №54-ФЗ</a:t>
          </a:r>
          <a:r>
            <a:rPr lang="ru-RU" sz="1300" u="none" kern="1200" dirty="0"/>
            <a:t> </a:t>
          </a:r>
          <a:r>
            <a:rPr lang="ru-RU" sz="1300" kern="1200" dirty="0"/>
            <a:t>«О применении контрольно-кассовой техники при осуществлении расчетов в российской федерации» определяет регламент информационного обмена ККТ (в т.ч. путем передачи фискального накопителя)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300" b="1" kern="1200" dirty="0"/>
            <a:t>Постановление Правительства РФ от 14.12.2018 №1556</a:t>
          </a:r>
          <a:r>
            <a:rPr lang="ru-RU" sz="1300" b="0" kern="1200" dirty="0"/>
            <a:t> определяет структуру кода маркировки </a:t>
          </a:r>
          <a:r>
            <a:rPr lang="ru-RU" sz="1300" kern="1200" dirty="0"/>
            <a:t>и регламент регистрации сведений в системе маркировки</a:t>
          </a:r>
        </a:p>
      </dsp:txBody>
      <dsp:txXfrm>
        <a:off x="0" y="2062077"/>
        <a:ext cx="11051587" cy="1161270"/>
      </dsp:txXfrm>
    </dsp:sp>
    <dsp:sp modelId="{39A0D6C3-38D9-42AF-A344-A45DC3E1F539}">
      <dsp:nvSpPr>
        <dsp:cNvPr id="0" name=""/>
        <dsp:cNvSpPr/>
      </dsp:nvSpPr>
      <dsp:spPr>
        <a:xfrm>
          <a:off x="0" y="3223347"/>
          <a:ext cx="11051587" cy="427635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dirty="0">
              <a:solidFill>
                <a:srgbClr val="58595B"/>
              </a:solidFill>
            </a:rPr>
            <a:t>Где? </a:t>
          </a:r>
          <a:r>
            <a:rPr lang="ru-RU" sz="1600" b="0" dirty="0">
              <a:solidFill>
                <a:srgbClr val="58595B"/>
              </a:solidFill>
            </a:rPr>
            <a:t>Сфера применения </a:t>
          </a:r>
          <a:endParaRPr lang="ru-RU" sz="1700" b="0" kern="1200" dirty="0">
            <a:solidFill>
              <a:srgbClr val="58595B"/>
            </a:solidFill>
            <a:latin typeface="PT Sans Caption"/>
            <a:ea typeface="+mn-ea"/>
            <a:cs typeface="+mn-cs"/>
          </a:endParaRPr>
        </a:p>
      </dsp:txBody>
      <dsp:txXfrm>
        <a:off x="20875" y="3244222"/>
        <a:ext cx="11009837" cy="385885"/>
      </dsp:txXfrm>
    </dsp:sp>
    <dsp:sp modelId="{EDD7F5D9-51C3-4DEA-B2DD-1D140C0A0D28}">
      <dsp:nvSpPr>
        <dsp:cNvPr id="0" name=""/>
        <dsp:cNvSpPr/>
      </dsp:nvSpPr>
      <dsp:spPr>
        <a:xfrm>
          <a:off x="0" y="3650982"/>
          <a:ext cx="11051587" cy="1161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0888" tIns="21590" rIns="120904" bIns="2159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300" b="1" u="none" kern="1200" dirty="0"/>
            <a:t>Федеральный закон от 22 мая 2003 года №54-ФЗ</a:t>
          </a:r>
          <a:r>
            <a:rPr lang="ru-RU" sz="1300" u="none" kern="1200" dirty="0"/>
            <a:t> </a:t>
          </a:r>
          <a:r>
            <a:rPr lang="ru-RU" sz="1300" kern="1200" dirty="0"/>
            <a:t>«О применении контрольно-кассовой техники при осуществлении расчетов в российской федерации» определяет необходимость применения (возможность не использовать) ККТ при расчетах (субъектов обращения ЛП касаются, в основном, </a:t>
          </a:r>
          <a:r>
            <a:rPr lang="ru-RU" sz="1300" kern="1200" dirty="0" err="1"/>
            <a:t>пп</a:t>
          </a:r>
          <a:r>
            <a:rPr lang="ru-RU" sz="1300" kern="1200" dirty="0"/>
            <a:t>. 3, 5 и 7 Статьи 2)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"/>
          </a:pPr>
          <a:r>
            <a:rPr lang="ru-RU" sz="1300" b="1" kern="1200" dirty="0"/>
            <a:t>Постановление Правительства РФ от 14.12.2018 №1557</a:t>
          </a:r>
          <a:r>
            <a:rPr lang="ru-RU" sz="1300" b="0" kern="1200" dirty="0"/>
            <a:t> определяет порядок оснащения регистраторами выбытия мест осуществления деятельности, не оснащенных ККТ</a:t>
          </a:r>
        </a:p>
      </dsp:txBody>
      <dsp:txXfrm>
        <a:off x="0" y="3650982"/>
        <a:ext cx="11051587" cy="116127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812DB-8499-4208-A007-FF2E8764283D}">
      <dsp:nvSpPr>
        <dsp:cNvPr id="0" name=""/>
        <dsp:cNvSpPr/>
      </dsp:nvSpPr>
      <dsp:spPr>
        <a:xfrm>
          <a:off x="0" y="337684"/>
          <a:ext cx="11454905" cy="481089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rgbClr val="58595B"/>
              </a:solidFill>
            </a:rPr>
            <a:t>Аптеки</a:t>
          </a:r>
          <a:endParaRPr lang="ru-RU" sz="1800" kern="1200" dirty="0"/>
        </a:p>
      </dsp:txBody>
      <dsp:txXfrm>
        <a:off x="23485" y="361169"/>
        <a:ext cx="11407935" cy="434119"/>
      </dsp:txXfrm>
    </dsp:sp>
    <dsp:sp modelId="{65C3D534-82FA-4D0A-910A-2A82E8A866D8}">
      <dsp:nvSpPr>
        <dsp:cNvPr id="0" name=""/>
        <dsp:cNvSpPr/>
      </dsp:nvSpPr>
      <dsp:spPr>
        <a:xfrm>
          <a:off x="0" y="818773"/>
          <a:ext cx="11454905" cy="7638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3693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/>
            <a:t>Отпускающие только льготные ЛП без оплаты, не имеющие ККТ – через РВ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/>
            <a:t>Прочие – через ККТ (в том числе аптеки при больницах и поликлиниках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/>
            <a:t>Аптеки в отдаленных от сетей связи или труднодоступных местностях – через </a:t>
          </a:r>
          <a:r>
            <a:rPr lang="ru-RU" sz="14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ямое обращение к МДЛП</a:t>
          </a:r>
          <a:r>
            <a:rPr lang="en-US" sz="14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</a:t>
          </a:r>
          <a:endParaRPr lang="ru-RU" sz="1400" kern="1200" dirty="0"/>
        </a:p>
      </dsp:txBody>
      <dsp:txXfrm>
        <a:off x="0" y="818773"/>
        <a:ext cx="11454905" cy="763830"/>
      </dsp:txXfrm>
    </dsp:sp>
    <dsp:sp modelId="{19911EC7-65D6-466D-96EE-53C9172D758B}">
      <dsp:nvSpPr>
        <dsp:cNvPr id="0" name=""/>
        <dsp:cNvSpPr/>
      </dsp:nvSpPr>
      <dsp:spPr>
        <a:xfrm>
          <a:off x="0" y="1582603"/>
          <a:ext cx="11454905" cy="481089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rgbClr val="58595B"/>
              </a:solidFill>
            </a:rPr>
            <a:t>Медицинские организации для оказания медицинской помощи </a:t>
          </a:r>
        </a:p>
      </dsp:txBody>
      <dsp:txXfrm>
        <a:off x="23485" y="1606088"/>
        <a:ext cx="11407935" cy="434119"/>
      </dsp:txXfrm>
    </dsp:sp>
    <dsp:sp modelId="{932D7A56-44CC-4119-8ADE-C5D15F0193CA}">
      <dsp:nvSpPr>
        <dsp:cNvPr id="0" name=""/>
        <dsp:cNvSpPr/>
      </dsp:nvSpPr>
      <dsp:spPr>
        <a:xfrm>
          <a:off x="0" y="2063692"/>
          <a:ext cx="11454905" cy="968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3693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/>
            <a:t>РВ, подключенный к АРМ провизора больничной аптеки, или установленный в локальной сети организации, или установленный в ЦОД в случае централизованной ИТ-системы. Допускается автономный режим работы РВ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/>
            <a:t>Сканеры </a:t>
          </a:r>
          <a:r>
            <a:rPr lang="en-US" sz="1400" kern="1200" dirty="0"/>
            <a:t>2D</a:t>
          </a:r>
          <a:r>
            <a:rPr lang="ru-RU" sz="1400" kern="1200" dirty="0"/>
            <a:t> штрихкодов на рабочих местах, при необходимости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/>
            <a:t>Клиент </a:t>
          </a:r>
          <a:r>
            <a:rPr lang="ru-RU" sz="1400" kern="1200" dirty="0" err="1"/>
            <a:t>товароучетной</a:t>
          </a:r>
          <a:r>
            <a:rPr lang="ru-RU" sz="1400" kern="1200" dirty="0"/>
            <a:t> системы (удобно) или личный кабинет МДЛП (бесплатно)</a:t>
          </a:r>
        </a:p>
      </dsp:txBody>
      <dsp:txXfrm>
        <a:off x="0" y="2063692"/>
        <a:ext cx="11454905" cy="968760"/>
      </dsp:txXfrm>
    </dsp:sp>
    <dsp:sp modelId="{CC39DD98-50C2-4DC4-B627-872F914ED6C1}">
      <dsp:nvSpPr>
        <dsp:cNvPr id="0" name=""/>
        <dsp:cNvSpPr/>
      </dsp:nvSpPr>
      <dsp:spPr>
        <a:xfrm>
          <a:off x="0" y="3032453"/>
          <a:ext cx="11454905" cy="481089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 err="1">
              <a:solidFill>
                <a:srgbClr val="58595B"/>
              </a:solidFill>
              <a:latin typeface="PT Sans Caption"/>
              <a:ea typeface="+mn-ea"/>
              <a:cs typeface="+mn-cs"/>
            </a:rPr>
            <a:t>ФАПы</a:t>
          </a:r>
          <a:r>
            <a:rPr lang="ru-RU" sz="1800" b="1" kern="1200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 и аптеки при них</a:t>
          </a:r>
        </a:p>
      </dsp:txBody>
      <dsp:txXfrm>
        <a:off x="23485" y="3055938"/>
        <a:ext cx="11407935" cy="434119"/>
      </dsp:txXfrm>
    </dsp:sp>
    <dsp:sp modelId="{42A464CC-C336-4F11-8120-0B0C98EE3B34}">
      <dsp:nvSpPr>
        <dsp:cNvPr id="0" name=""/>
        <dsp:cNvSpPr/>
      </dsp:nvSpPr>
      <dsp:spPr>
        <a:xfrm>
          <a:off x="0" y="3513542"/>
          <a:ext cx="11454905" cy="5216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271" tIns="27940" rIns="156464" bIns="279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Через ККТ (если есть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Через прямое обращение к МДЛП</a:t>
          </a:r>
          <a:r>
            <a:rPr lang="en-US" sz="14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</a:t>
          </a:r>
          <a:r>
            <a:rPr lang="ru-RU" sz="14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для розницы или вышестоящим подразделением через РВ (если в ФАП нет ККТ)</a:t>
          </a:r>
        </a:p>
      </dsp:txBody>
      <dsp:txXfrm>
        <a:off x="0" y="3513542"/>
        <a:ext cx="11454905" cy="521640"/>
      </dsp:txXfrm>
    </dsp:sp>
    <dsp:sp modelId="{5895881C-E7E7-4236-A309-7B2461BE0F9C}">
      <dsp:nvSpPr>
        <dsp:cNvPr id="0" name=""/>
        <dsp:cNvSpPr/>
      </dsp:nvSpPr>
      <dsp:spPr>
        <a:xfrm>
          <a:off x="0" y="4035182"/>
          <a:ext cx="11454905" cy="481089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очие</a:t>
          </a:r>
        </a:p>
      </dsp:txBody>
      <dsp:txXfrm>
        <a:off x="23485" y="4058667"/>
        <a:ext cx="11407935" cy="434119"/>
      </dsp:txXfrm>
    </dsp:sp>
    <dsp:sp modelId="{47DAFF1A-D268-4C30-952D-334492E4B994}">
      <dsp:nvSpPr>
        <dsp:cNvPr id="0" name=""/>
        <dsp:cNvSpPr/>
      </dsp:nvSpPr>
      <dsp:spPr>
        <a:xfrm>
          <a:off x="0" y="4516271"/>
          <a:ext cx="11454905" cy="7265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3693" tIns="22860" rIns="128016" bIns="2286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b="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Труднодоступные и отдаленные от сетей связи местности (списки Минсвязи и Правительств регионов), медкабинеты в образовательных учреждениях, смотровые кабинеты на </a:t>
          </a:r>
          <a:r>
            <a:rPr lang="ru-RU" sz="1400" b="0" kern="1200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предприятиях</a:t>
          </a:r>
          <a:r>
            <a:rPr lang="ru-RU" sz="1400" b="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, косметические салоны…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4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и отгрузке отправителем через прямое обращение к МДЛП, без РВ или ККТ</a:t>
          </a:r>
        </a:p>
      </dsp:txBody>
      <dsp:txXfrm>
        <a:off x="0" y="4516271"/>
        <a:ext cx="11454905" cy="72657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812DB-8499-4208-A007-FF2E8764283D}">
      <dsp:nvSpPr>
        <dsp:cNvPr id="0" name=""/>
        <dsp:cNvSpPr/>
      </dsp:nvSpPr>
      <dsp:spPr>
        <a:xfrm>
          <a:off x="0" y="0"/>
          <a:ext cx="11454905" cy="423075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1 льготный рецепт = 1 чек</a:t>
          </a:r>
          <a:endParaRPr lang="ru-RU" sz="2300" kern="1200" dirty="0"/>
        </a:p>
      </dsp:txBody>
      <dsp:txXfrm>
        <a:off x="20653" y="20653"/>
        <a:ext cx="11413599" cy="381769"/>
      </dsp:txXfrm>
    </dsp:sp>
    <dsp:sp modelId="{65C3D534-82FA-4D0A-910A-2A82E8A866D8}">
      <dsp:nvSpPr>
        <dsp:cNvPr id="0" name=""/>
        <dsp:cNvSpPr/>
      </dsp:nvSpPr>
      <dsp:spPr>
        <a:xfrm>
          <a:off x="0" y="444390"/>
          <a:ext cx="11454905" cy="1449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3693" tIns="22860" rIns="128016" bIns="2286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и формировании кассовых документов кассовый чек (БСО), содержащий реквизиты льготного рецепта, формируется только для одного конкретного льготного рецепта. Для передачи данных о не дотируемых ЛП из того же рецепта, а также для иных товаров, должен быть сформирован отдельный чек.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</dsp:txBody>
      <dsp:txXfrm>
        <a:off x="0" y="444390"/>
        <a:ext cx="11454905" cy="1449000"/>
      </dsp:txXfrm>
    </dsp:sp>
    <dsp:sp modelId="{19911EC7-65D6-466D-96EE-53C9172D758B}">
      <dsp:nvSpPr>
        <dsp:cNvPr id="0" name=""/>
        <dsp:cNvSpPr/>
      </dsp:nvSpPr>
      <dsp:spPr>
        <a:xfrm>
          <a:off x="0" y="1893390"/>
          <a:ext cx="11454905" cy="469549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Материалы и услуги отдельно</a:t>
          </a:r>
        </a:p>
      </dsp:txBody>
      <dsp:txXfrm>
        <a:off x="22921" y="1916311"/>
        <a:ext cx="11409063" cy="423707"/>
      </dsp:txXfrm>
    </dsp:sp>
    <dsp:sp modelId="{932D7A56-44CC-4119-8ADE-C5D15F0193CA}">
      <dsp:nvSpPr>
        <dsp:cNvPr id="0" name=""/>
        <dsp:cNvSpPr/>
      </dsp:nvSpPr>
      <dsp:spPr>
        <a:xfrm>
          <a:off x="0" y="2362939"/>
          <a:ext cx="11454905" cy="1449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369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При использовании ЛП в качестве материалов при оказании услуг, использованные ЛП должны быть указаны отдельными позициями кассового чека (БСО) с ненулевой ценой для корректного учета вывода их из оборота в МДЛП. Выделять ЛП в отдельный чек в этом случае не требуется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ru-RU" sz="1800" kern="1200" dirty="0"/>
        </a:p>
      </dsp:txBody>
      <dsp:txXfrm>
        <a:off x="0" y="2362939"/>
        <a:ext cx="11454905" cy="1449000"/>
      </dsp:txXfrm>
    </dsp:sp>
    <dsp:sp modelId="{CC39DD98-50C2-4DC4-B627-872F914ED6C1}">
      <dsp:nvSpPr>
        <dsp:cNvPr id="0" name=""/>
        <dsp:cNvSpPr/>
      </dsp:nvSpPr>
      <dsp:spPr>
        <a:xfrm>
          <a:off x="0" y="3811939"/>
          <a:ext cx="11454905" cy="468153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1 упаковка = 1 позиция чека</a:t>
          </a:r>
        </a:p>
      </dsp:txBody>
      <dsp:txXfrm>
        <a:off x="22853" y="3834792"/>
        <a:ext cx="11409199" cy="422447"/>
      </dsp:txXfrm>
    </dsp:sp>
    <dsp:sp modelId="{42A464CC-C336-4F11-8120-0B0C98EE3B34}">
      <dsp:nvSpPr>
        <dsp:cNvPr id="0" name=""/>
        <dsp:cNvSpPr/>
      </dsp:nvSpPr>
      <dsp:spPr>
        <a:xfrm>
          <a:off x="0" y="4280092"/>
          <a:ext cx="11454905" cy="579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271" tIns="27940" rIns="156464" bIns="2794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Нельзя отсканировать 1 код и ввести количество – каждый код упаковки индивидуален</a:t>
          </a:r>
        </a:p>
      </dsp:txBody>
      <dsp:txXfrm>
        <a:off x="0" y="4280092"/>
        <a:ext cx="11454905" cy="5796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812DB-8499-4208-A007-FF2E8764283D}">
      <dsp:nvSpPr>
        <dsp:cNvPr id="0" name=""/>
        <dsp:cNvSpPr/>
      </dsp:nvSpPr>
      <dsp:spPr>
        <a:xfrm>
          <a:off x="0" y="0"/>
          <a:ext cx="11454905" cy="556042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Сканирование КМ и регистрация выбытия ЛП – разные процессы</a:t>
          </a:r>
          <a:endParaRPr lang="ru-RU" sz="2300" kern="1200" dirty="0"/>
        </a:p>
      </dsp:txBody>
      <dsp:txXfrm>
        <a:off x="27144" y="27144"/>
        <a:ext cx="11400617" cy="501754"/>
      </dsp:txXfrm>
    </dsp:sp>
    <dsp:sp modelId="{65C3D534-82FA-4D0A-910A-2A82E8A866D8}">
      <dsp:nvSpPr>
        <dsp:cNvPr id="0" name=""/>
        <dsp:cNvSpPr/>
      </dsp:nvSpPr>
      <dsp:spPr>
        <a:xfrm>
          <a:off x="0" y="578800"/>
          <a:ext cx="11454905" cy="7617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3693" tIns="22860" rIns="128016" bIns="2286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Сканирование кодов маркировки ЛП и отправка сведений в МДЛП технически могут быть разделены по месту и времени так, как это удобно медицинской организации</a:t>
          </a:r>
        </a:p>
      </dsp:txBody>
      <dsp:txXfrm>
        <a:off x="0" y="578800"/>
        <a:ext cx="11454905" cy="761760"/>
      </dsp:txXfrm>
    </dsp:sp>
    <dsp:sp modelId="{19911EC7-65D6-466D-96EE-53C9172D758B}">
      <dsp:nvSpPr>
        <dsp:cNvPr id="0" name=""/>
        <dsp:cNvSpPr/>
      </dsp:nvSpPr>
      <dsp:spPr>
        <a:xfrm>
          <a:off x="0" y="1340560"/>
          <a:ext cx="11454905" cy="617121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Определение мест установки РВ и мест установки СКЗИ - варианты </a:t>
          </a:r>
        </a:p>
      </dsp:txBody>
      <dsp:txXfrm>
        <a:off x="30125" y="1370685"/>
        <a:ext cx="11394655" cy="556871"/>
      </dsp:txXfrm>
    </dsp:sp>
    <dsp:sp modelId="{932D7A56-44CC-4119-8ADE-C5D15F0193CA}">
      <dsp:nvSpPr>
        <dsp:cNvPr id="0" name=""/>
        <dsp:cNvSpPr/>
      </dsp:nvSpPr>
      <dsp:spPr>
        <a:xfrm>
          <a:off x="0" y="1957681"/>
          <a:ext cx="11454905" cy="13092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369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Весь вывод из оборота регистрируется в больничной аптеке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или Разделение материальных потоков по видам упаковки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или Разделение материальных потоков по отделениям по объему оборота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l-GR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Σ</a:t>
          </a: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= </a:t>
          </a:r>
          <a:r>
            <a:rPr lang="ru-RU" sz="1800" kern="1200" dirty="0"/>
            <a:t>Смешанный подход</a:t>
          </a:r>
        </a:p>
      </dsp:txBody>
      <dsp:txXfrm>
        <a:off x="0" y="1957681"/>
        <a:ext cx="11454905" cy="1309275"/>
      </dsp:txXfrm>
    </dsp:sp>
    <dsp:sp modelId="{CC39DD98-50C2-4DC4-B627-872F914ED6C1}">
      <dsp:nvSpPr>
        <dsp:cNvPr id="0" name=""/>
        <dsp:cNvSpPr/>
      </dsp:nvSpPr>
      <dsp:spPr>
        <a:xfrm>
          <a:off x="0" y="3278532"/>
          <a:ext cx="11454905" cy="615287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Тестовые стенды и привлечение разработчиков</a:t>
          </a:r>
        </a:p>
      </dsp:txBody>
      <dsp:txXfrm>
        <a:off x="30036" y="3308568"/>
        <a:ext cx="11394833" cy="555215"/>
      </dsp:txXfrm>
    </dsp:sp>
    <dsp:sp modelId="{42A464CC-C336-4F11-8120-0B0C98EE3B34}">
      <dsp:nvSpPr>
        <dsp:cNvPr id="0" name=""/>
        <dsp:cNvSpPr/>
      </dsp:nvSpPr>
      <dsp:spPr>
        <a:xfrm>
          <a:off x="0" y="3882244"/>
          <a:ext cx="11454905" cy="976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271" tIns="27940" rIns="156464" bIns="2794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Тестовый стенд </a:t>
          </a:r>
          <a:r>
            <a:rPr lang="en-US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API</a:t>
          </a: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«Песочница» МДЛП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Промышленная система</a:t>
          </a:r>
        </a:p>
      </dsp:txBody>
      <dsp:txXfrm>
        <a:off x="0" y="3882244"/>
        <a:ext cx="11454905" cy="97600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812DB-8499-4208-A007-FF2E8764283D}">
      <dsp:nvSpPr>
        <dsp:cNvPr id="0" name=""/>
        <dsp:cNvSpPr/>
      </dsp:nvSpPr>
      <dsp:spPr>
        <a:xfrm>
          <a:off x="0" y="1821"/>
          <a:ext cx="11454905" cy="567141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Возможность</a:t>
          </a:r>
          <a:endParaRPr lang="ru-RU" sz="2300" kern="1200" dirty="0"/>
        </a:p>
      </dsp:txBody>
      <dsp:txXfrm>
        <a:off x="27686" y="29507"/>
        <a:ext cx="11399533" cy="511769"/>
      </dsp:txXfrm>
    </dsp:sp>
    <dsp:sp modelId="{65C3D534-82FA-4D0A-910A-2A82E8A866D8}">
      <dsp:nvSpPr>
        <dsp:cNvPr id="0" name=""/>
        <dsp:cNvSpPr/>
      </dsp:nvSpPr>
      <dsp:spPr>
        <a:xfrm>
          <a:off x="0" y="568963"/>
          <a:ext cx="11454905" cy="1515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3693" tIns="22860" rIns="128016" bIns="22860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 Участники оборота, зарегистрировавшиеся в рамках эксперимента, не потеряют свои данные, все данные автоматически будут перенесены в промышленную систему, переход к обязательной маркировке с технической точки зрения будет «бесшовным»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PT Sans Caption"/>
            <a:buChar char="•"/>
          </a:pPr>
          <a:endParaRPr lang="ru-RU" sz="1800" kern="1200" dirty="0">
            <a:solidFill>
              <a:srgbClr val="595959">
                <a:hueOff val="0"/>
                <a:satOff val="0"/>
                <a:lumOff val="0"/>
                <a:alphaOff val="0"/>
              </a:srgbClr>
            </a:solidFill>
            <a:latin typeface="PT Sans Caption"/>
            <a:ea typeface="+mn-ea"/>
            <a:cs typeface="+mn-cs"/>
          </a:endParaRPr>
        </a:p>
      </dsp:txBody>
      <dsp:txXfrm>
        <a:off x="0" y="568963"/>
        <a:ext cx="11454905" cy="1515345"/>
      </dsp:txXfrm>
    </dsp:sp>
    <dsp:sp modelId="{19911EC7-65D6-466D-96EE-53C9172D758B}">
      <dsp:nvSpPr>
        <dsp:cNvPr id="0" name=""/>
        <dsp:cNvSpPr/>
      </dsp:nvSpPr>
      <dsp:spPr>
        <a:xfrm>
          <a:off x="0" y="2033719"/>
          <a:ext cx="11454905" cy="567141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58595B"/>
              </a:solidFill>
            </a:rPr>
            <a:t>Необходимость</a:t>
          </a:r>
        </a:p>
      </dsp:txBody>
      <dsp:txXfrm>
        <a:off x="27686" y="2061405"/>
        <a:ext cx="11399533" cy="511769"/>
      </dsp:txXfrm>
    </dsp:sp>
    <dsp:sp modelId="{932D7A56-44CC-4119-8ADE-C5D15F0193CA}">
      <dsp:nvSpPr>
        <dsp:cNvPr id="0" name=""/>
        <dsp:cNvSpPr/>
      </dsp:nvSpPr>
      <dsp:spPr>
        <a:xfrm>
          <a:off x="0" y="2651450"/>
          <a:ext cx="11454905" cy="20887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369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Зарегистрироваться до 08.07.2019 невозможно, если начать этим заниматься 01.07.2019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Несоответствие лицензированной организации требованиям законодательства </a:t>
          </a:r>
          <a:r>
            <a:rPr lang="ru-RU" sz="1800" kern="1200" dirty="0">
              <a:solidFill>
                <a:schemeClr val="tx1"/>
              </a:solidFill>
            </a:rPr>
            <a:t>является основанием для отзыва лицензии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800" kern="1200" dirty="0"/>
            <a:t>Федеральным законом от 15.04.2019 №58-ФЗ вводится ответственность за несвоевременное/недостоверное внесение данных в МДЛП в виде штрафа для должностных лиц в размере от 5 до 10 тыс. руб., для юрлиц – от 50 до 100 тыс. руб.</a:t>
          </a:r>
        </a:p>
      </dsp:txBody>
      <dsp:txXfrm>
        <a:off x="0" y="2651450"/>
        <a:ext cx="11454905" cy="208871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AE99E9-6AC0-4BE1-ADC4-B7A9AA0963DB}">
      <dsp:nvSpPr>
        <dsp:cNvPr id="0" name=""/>
        <dsp:cNvSpPr/>
      </dsp:nvSpPr>
      <dsp:spPr>
        <a:xfrm>
          <a:off x="0" y="109627"/>
          <a:ext cx="10933208" cy="413325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rgbClr val="58595B"/>
              </a:solidFill>
            </a:rPr>
            <a:t>ЧестныйЗНАК.РФ -</a:t>
          </a:r>
          <a:r>
            <a:rPr lang="en-US" sz="1800" b="1" kern="1200" dirty="0">
              <a:solidFill>
                <a:srgbClr val="58595B"/>
              </a:solidFill>
            </a:rPr>
            <a:t>&gt;</a:t>
          </a:r>
          <a:r>
            <a:rPr lang="ru-RU" sz="1800" b="1" kern="1200" dirty="0">
              <a:solidFill>
                <a:srgbClr val="58595B"/>
              </a:solidFill>
            </a:rPr>
            <a:t> Бизнесу -</a:t>
          </a:r>
          <a:r>
            <a:rPr lang="en-US" sz="1800" b="1" kern="1200" dirty="0">
              <a:solidFill>
                <a:srgbClr val="58595B"/>
              </a:solidFill>
            </a:rPr>
            <a:t>&gt;</a:t>
          </a:r>
          <a:r>
            <a:rPr lang="ru-RU" sz="1800" b="1" kern="1200" dirty="0">
              <a:solidFill>
                <a:srgbClr val="58595B"/>
              </a:solidFill>
            </a:rPr>
            <a:t> Маркировка и эксперименты -</a:t>
          </a:r>
          <a:r>
            <a:rPr lang="en-US" sz="1800" b="1" kern="1200" dirty="0">
              <a:solidFill>
                <a:srgbClr val="58595B"/>
              </a:solidFill>
            </a:rPr>
            <a:t>&gt; </a:t>
          </a:r>
          <a:r>
            <a:rPr lang="ru-RU" sz="1800" b="1" kern="1200" dirty="0">
              <a:solidFill>
                <a:srgbClr val="58595B"/>
              </a:solidFill>
            </a:rPr>
            <a:t>Маркировка лекарств</a:t>
          </a:r>
        </a:p>
      </dsp:txBody>
      <dsp:txXfrm>
        <a:off x="20177" y="129804"/>
        <a:ext cx="10892854" cy="372971"/>
      </dsp:txXfrm>
    </dsp:sp>
    <dsp:sp modelId="{0DE61F2F-E993-4BC6-841C-810E4E79B3FB}">
      <dsp:nvSpPr>
        <dsp:cNvPr id="0" name=""/>
        <dsp:cNvSpPr/>
      </dsp:nvSpPr>
      <dsp:spPr>
        <a:xfrm>
          <a:off x="0" y="632580"/>
          <a:ext cx="10933208" cy="4343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7129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ru-RU" sz="1800" kern="1200" dirty="0"/>
            <a:t>В подразделе «Документы -</a:t>
          </a:r>
          <a:r>
            <a:rPr lang="en-US" sz="1800" kern="1200" dirty="0"/>
            <a:t>&gt;</a:t>
          </a:r>
          <a:r>
            <a:rPr lang="ru-RU" sz="1800" kern="1200" dirty="0"/>
            <a:t> Основные действия участников МДЛП» в документах «</a:t>
          </a:r>
          <a:r>
            <a:rPr lang="ru-RU" sz="1800" i="0" u="sng" kern="1200" dirty="0"/>
            <a:t>Инструкция по подключению </a:t>
          </a:r>
          <a:r>
            <a:rPr lang="ru-RU" sz="1800" i="0" u="sng" kern="1200" dirty="0" err="1"/>
            <a:t>медорганизаций</a:t>
          </a:r>
          <a:r>
            <a:rPr lang="ru-RU" sz="1800" i="0" u="sng" kern="1200" dirty="0"/>
            <a:t> и аптек</a:t>
          </a:r>
          <a:r>
            <a:rPr lang="ru-RU" sz="1800" kern="1200" dirty="0"/>
            <a:t>» и  «</a:t>
          </a:r>
          <a:r>
            <a:rPr lang="ru-RU" sz="1800" u="sng" kern="1200" dirty="0"/>
            <a:t>Руководство пользователя личного кабинета участника обращения лекарственных препаратов</a:t>
          </a:r>
          <a:r>
            <a:rPr lang="ru-RU" sz="1800" kern="1200" dirty="0"/>
            <a:t>» описаны необходимые для начала работы действия.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ru-RU" sz="1800" kern="1200" dirty="0"/>
            <a:t>В подразделе «Документы -</a:t>
          </a:r>
          <a:r>
            <a:rPr lang="en-US" sz="1800" kern="1200" dirty="0"/>
            <a:t>&gt;</a:t>
          </a:r>
          <a:br>
            <a:rPr lang="ru-RU" sz="1800" kern="1200" dirty="0"/>
          </a:br>
          <a:r>
            <a:rPr lang="ru-RU" sz="1800" kern="1200" dirty="0"/>
            <a:t>Основные действия участников</a:t>
          </a:r>
          <a:br>
            <a:rPr lang="ru-RU" sz="1800" kern="1200" dirty="0"/>
          </a:br>
          <a:r>
            <a:rPr lang="ru-RU" sz="1800" kern="1200" dirty="0"/>
            <a:t>МДЛП» содержатся документы,</a:t>
          </a:r>
          <a:br>
            <a:rPr lang="ru-RU" sz="1800" kern="1200" dirty="0"/>
          </a:br>
          <a:r>
            <a:rPr lang="ru-RU" sz="1800" kern="1200" dirty="0"/>
            <a:t>которые необходимо прочитать</a:t>
          </a:r>
          <a:br>
            <a:rPr lang="ru-RU" sz="1800" kern="1200" dirty="0"/>
          </a:br>
          <a:r>
            <a:rPr lang="ru-RU" sz="1800" kern="1200" dirty="0"/>
            <a:t>для начала работы в системе:</a:t>
          </a:r>
          <a:br>
            <a:rPr lang="ru-RU" sz="1800" kern="1200" dirty="0"/>
          </a:br>
          <a:r>
            <a:rPr lang="ru-RU" sz="1800" kern="1200" dirty="0"/>
            <a:t>«</a:t>
          </a:r>
          <a:r>
            <a:rPr lang="ru-RU" sz="1800" u="sng" kern="1200" dirty="0"/>
            <a:t>Описание бизнес-процессов</a:t>
          </a:r>
          <a:r>
            <a:rPr lang="ru-RU" sz="1800" kern="1200" dirty="0"/>
            <a:t>»,</a:t>
          </a:r>
          <a:br>
            <a:rPr lang="ru-RU" sz="1800" kern="1200" dirty="0"/>
          </a:br>
          <a:r>
            <a:rPr lang="ru-RU" sz="1800" kern="1200" dirty="0"/>
            <a:t>«Порядок регистрации </a:t>
          </a:r>
          <a:br>
            <a:rPr lang="ru-RU" sz="1800" kern="1200" dirty="0"/>
          </a:br>
          <a:r>
            <a:rPr lang="ru-RU" sz="1800" kern="1200" dirty="0"/>
            <a:t>сведений при передаче ЛП», </a:t>
          </a:r>
          <a:br>
            <a:rPr lang="ru-RU" sz="1800" kern="1200" dirty="0"/>
          </a:br>
          <a:r>
            <a:rPr lang="ru-RU" sz="1800" kern="1200" dirty="0"/>
            <a:t>«Порядок вывода ЛП </a:t>
          </a:r>
          <a:br>
            <a:rPr lang="ru-RU" sz="1800" kern="1200" dirty="0"/>
          </a:br>
          <a:r>
            <a:rPr lang="ru-RU" sz="1800" kern="1200" dirty="0"/>
            <a:t>из оборота», </a:t>
          </a:r>
          <a:br>
            <a:rPr lang="ru-RU" sz="1800" kern="1200" dirty="0"/>
          </a:br>
          <a:r>
            <a:rPr lang="ru-RU" sz="1800" kern="1200" dirty="0"/>
            <a:t>«Описание схем </a:t>
          </a:r>
          <a:r>
            <a:rPr lang="en-US" sz="1800" kern="1200" dirty="0"/>
            <a:t>XSD</a:t>
          </a:r>
          <a:r>
            <a:rPr lang="ru-RU" sz="1800" kern="1200" dirty="0"/>
            <a:t>»</a:t>
          </a:r>
        </a:p>
      </dsp:txBody>
      <dsp:txXfrm>
        <a:off x="0" y="632580"/>
        <a:ext cx="10933208" cy="43438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Shape 139"/>
          <p:cNvSpPr>
            <a:spLocks noGrp="1" noRot="1" noChangeAspect="1"/>
          </p:cNvSpPr>
          <p:nvPr>
            <p:ph type="sldImg"/>
          </p:nvPr>
        </p:nvSpPr>
        <p:spPr>
          <a:xfrm>
            <a:off x="98425" y="744538"/>
            <a:ext cx="6600825" cy="37226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40" name="Shape 140"/>
          <p:cNvSpPr>
            <a:spLocks noGrp="1"/>
          </p:cNvSpPr>
          <p:nvPr>
            <p:ph type="body" sz="quarter" idx="1"/>
          </p:nvPr>
        </p:nvSpPr>
        <p:spPr>
          <a:xfrm>
            <a:off x="906357" y="4715153"/>
            <a:ext cx="4984962" cy="4466987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1193566" eaLnBrk="1" latinLnBrk="0">
      <a:defRPr sz="1600">
        <a:latin typeface="+mn-lt"/>
        <a:ea typeface="+mn-ea"/>
        <a:cs typeface="+mn-cs"/>
        <a:sym typeface="Calibri"/>
      </a:defRPr>
    </a:lvl1pPr>
    <a:lvl2pPr indent="228600" defTabSz="1193566" latinLnBrk="0">
      <a:defRPr sz="1600">
        <a:latin typeface="+mn-lt"/>
        <a:ea typeface="+mn-ea"/>
        <a:cs typeface="+mn-cs"/>
        <a:sym typeface="Calibri"/>
      </a:defRPr>
    </a:lvl2pPr>
    <a:lvl3pPr indent="457200" defTabSz="1193566" latinLnBrk="0">
      <a:defRPr sz="1600">
        <a:latin typeface="+mn-lt"/>
        <a:ea typeface="+mn-ea"/>
        <a:cs typeface="+mn-cs"/>
        <a:sym typeface="Calibri"/>
      </a:defRPr>
    </a:lvl3pPr>
    <a:lvl4pPr indent="685800" defTabSz="1193566" latinLnBrk="0">
      <a:defRPr sz="1600">
        <a:latin typeface="+mn-lt"/>
        <a:ea typeface="+mn-ea"/>
        <a:cs typeface="+mn-cs"/>
        <a:sym typeface="Calibri"/>
      </a:defRPr>
    </a:lvl4pPr>
    <a:lvl5pPr indent="914400" defTabSz="1193566" latinLnBrk="0">
      <a:defRPr sz="1600">
        <a:latin typeface="+mn-lt"/>
        <a:ea typeface="+mn-ea"/>
        <a:cs typeface="+mn-cs"/>
        <a:sym typeface="Calibri"/>
      </a:defRPr>
    </a:lvl5pPr>
    <a:lvl6pPr indent="1143000" defTabSz="1193566" latinLnBrk="0">
      <a:defRPr sz="1600">
        <a:latin typeface="+mn-lt"/>
        <a:ea typeface="+mn-ea"/>
        <a:cs typeface="+mn-cs"/>
        <a:sym typeface="Calibri"/>
      </a:defRPr>
    </a:lvl6pPr>
    <a:lvl7pPr indent="1371600" defTabSz="1193566" latinLnBrk="0">
      <a:defRPr sz="1600">
        <a:latin typeface="+mn-lt"/>
        <a:ea typeface="+mn-ea"/>
        <a:cs typeface="+mn-cs"/>
        <a:sym typeface="Calibri"/>
      </a:defRPr>
    </a:lvl7pPr>
    <a:lvl8pPr indent="1600200" defTabSz="1193566" latinLnBrk="0">
      <a:defRPr sz="1600">
        <a:latin typeface="+mn-lt"/>
        <a:ea typeface="+mn-ea"/>
        <a:cs typeface="+mn-cs"/>
        <a:sym typeface="Calibri"/>
      </a:defRPr>
    </a:lvl8pPr>
    <a:lvl9pPr indent="1828800" defTabSz="1193566" latinLnBrk="0">
      <a:defRPr sz="16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8425" y="744538"/>
            <a:ext cx="66008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</a:t>
            </a:r>
            <a:r>
              <a:rPr lang="ru-RU" dirty="0" err="1"/>
              <a:t>view</a:t>
            </a:r>
            <a:r>
              <a:rPr lang="ru-RU" dirty="0"/>
              <a:t>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5401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163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4369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tmp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1.bin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6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3.xml"/><Relationship Id="rId7" Type="http://schemas.openxmlformats.org/officeDocument/2006/relationships/oleObject" Target="../embeddings/oleObject102.bin"/><Relationship Id="rId2" Type="http://schemas.openxmlformats.org/officeDocument/2006/relationships/vmlDrawing" Target="../drawings/vmlDrawing102.vml"/><Relationship Id="rId1" Type="http://schemas.openxmlformats.org/officeDocument/2006/relationships/themeOverride" Target="../theme/themeOverride4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5.xml"/><Relationship Id="rId4" Type="http://schemas.openxmlformats.org/officeDocument/2006/relationships/tags" Target="../tags/tag254.xml"/><Relationship Id="rId9" Type="http://schemas.openxmlformats.org/officeDocument/2006/relationships/image" Target="../media/image6.png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6.xml"/><Relationship Id="rId7" Type="http://schemas.openxmlformats.org/officeDocument/2006/relationships/oleObject" Target="../embeddings/oleObject103.bin"/><Relationship Id="rId2" Type="http://schemas.openxmlformats.org/officeDocument/2006/relationships/vmlDrawing" Target="../drawings/vmlDrawing103.vml"/><Relationship Id="rId1" Type="http://schemas.openxmlformats.org/officeDocument/2006/relationships/themeOverride" Target="../theme/themeOverride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8.xml"/><Relationship Id="rId4" Type="http://schemas.openxmlformats.org/officeDocument/2006/relationships/tags" Target="../tags/tag257.xml"/><Relationship Id="rId9" Type="http://schemas.openxmlformats.org/officeDocument/2006/relationships/image" Target="../media/image6.png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9.xml"/><Relationship Id="rId7" Type="http://schemas.openxmlformats.org/officeDocument/2006/relationships/oleObject" Target="../embeddings/oleObject104.bin"/><Relationship Id="rId2" Type="http://schemas.openxmlformats.org/officeDocument/2006/relationships/vmlDrawing" Target="../drawings/vmlDrawing104.vml"/><Relationship Id="rId1" Type="http://schemas.openxmlformats.org/officeDocument/2006/relationships/themeOverride" Target="../theme/themeOverride4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1.xml"/><Relationship Id="rId4" Type="http://schemas.openxmlformats.org/officeDocument/2006/relationships/tags" Target="../tags/tag260.xml"/><Relationship Id="rId9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2.xml"/><Relationship Id="rId7" Type="http://schemas.openxmlformats.org/officeDocument/2006/relationships/oleObject" Target="../embeddings/oleObject105.bin"/><Relationship Id="rId2" Type="http://schemas.openxmlformats.org/officeDocument/2006/relationships/vmlDrawing" Target="../drawings/vmlDrawing105.vml"/><Relationship Id="rId1" Type="http://schemas.openxmlformats.org/officeDocument/2006/relationships/themeOverride" Target="../theme/themeOverride4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4.xml"/><Relationship Id="rId4" Type="http://schemas.openxmlformats.org/officeDocument/2006/relationships/tags" Target="../tags/tag263.xml"/><Relationship Id="rId9" Type="http://schemas.openxmlformats.org/officeDocument/2006/relationships/image" Target="../media/image6.png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5.xml"/><Relationship Id="rId7" Type="http://schemas.openxmlformats.org/officeDocument/2006/relationships/oleObject" Target="../embeddings/oleObject106.bin"/><Relationship Id="rId2" Type="http://schemas.openxmlformats.org/officeDocument/2006/relationships/vmlDrawing" Target="../drawings/vmlDrawing106.vml"/><Relationship Id="rId1" Type="http://schemas.openxmlformats.org/officeDocument/2006/relationships/themeOverride" Target="../theme/themeOverride4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7.xml"/><Relationship Id="rId4" Type="http://schemas.openxmlformats.org/officeDocument/2006/relationships/tags" Target="../tags/tag266.xml"/><Relationship Id="rId9" Type="http://schemas.openxmlformats.org/officeDocument/2006/relationships/image" Target="../media/image6.png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107.bin"/><Relationship Id="rId2" Type="http://schemas.openxmlformats.org/officeDocument/2006/relationships/vmlDrawing" Target="../drawings/vmlDrawing107.vml"/><Relationship Id="rId1" Type="http://schemas.openxmlformats.org/officeDocument/2006/relationships/themeOverride" Target="../theme/themeOverride4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0.xml"/><Relationship Id="rId4" Type="http://schemas.openxmlformats.org/officeDocument/2006/relationships/tags" Target="../tags/tag269.xml"/><Relationship Id="rId9" Type="http://schemas.openxmlformats.org/officeDocument/2006/relationships/image" Target="../media/image6.png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71.xml"/><Relationship Id="rId7" Type="http://schemas.openxmlformats.org/officeDocument/2006/relationships/oleObject" Target="../embeddings/oleObject108.bin"/><Relationship Id="rId2" Type="http://schemas.openxmlformats.org/officeDocument/2006/relationships/vmlDrawing" Target="../drawings/vmlDrawing108.vml"/><Relationship Id="rId1" Type="http://schemas.openxmlformats.org/officeDocument/2006/relationships/themeOverride" Target="../theme/themeOverride5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3.xml"/><Relationship Id="rId4" Type="http://schemas.openxmlformats.org/officeDocument/2006/relationships/tags" Target="../tags/tag272.xml"/><Relationship Id="rId9" Type="http://schemas.openxmlformats.org/officeDocument/2006/relationships/image" Target="../media/image7.png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75.xml"/><Relationship Id="rId7" Type="http://schemas.openxmlformats.org/officeDocument/2006/relationships/image" Target="../media/image2.emf"/><Relationship Id="rId2" Type="http://schemas.openxmlformats.org/officeDocument/2006/relationships/tags" Target="../tags/tag274.xml"/><Relationship Id="rId1" Type="http://schemas.openxmlformats.org/officeDocument/2006/relationships/vmlDrawing" Target="../drawings/vmlDrawing109.vml"/><Relationship Id="rId6" Type="http://schemas.openxmlformats.org/officeDocument/2006/relationships/oleObject" Target="../embeddings/oleObject10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6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7.xml"/><Relationship Id="rId7" Type="http://schemas.openxmlformats.org/officeDocument/2006/relationships/oleObject" Target="../embeddings/oleObject110.bin"/><Relationship Id="rId2" Type="http://schemas.openxmlformats.org/officeDocument/2006/relationships/vmlDrawing" Target="../drawings/vmlDrawing110.vml"/><Relationship Id="rId1" Type="http://schemas.openxmlformats.org/officeDocument/2006/relationships/themeOverride" Target="../theme/themeOverride5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9.xml"/><Relationship Id="rId4" Type="http://schemas.openxmlformats.org/officeDocument/2006/relationships/tags" Target="../tags/tag278.xml"/><Relationship Id="rId9" Type="http://schemas.openxmlformats.org/officeDocument/2006/relationships/image" Target="../media/image10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2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10" Type="http://schemas.openxmlformats.org/officeDocument/2006/relationships/image" Target="../media/image5.png"/><Relationship Id="rId4" Type="http://schemas.openxmlformats.org/officeDocument/2006/relationships/tags" Target="../tags/tag33.xml"/><Relationship Id="rId9" Type="http://schemas.openxmlformats.org/officeDocument/2006/relationships/image" Target="../media/image7.png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81.xml"/><Relationship Id="rId7" Type="http://schemas.openxmlformats.org/officeDocument/2006/relationships/image" Target="../media/image2.emf"/><Relationship Id="rId2" Type="http://schemas.openxmlformats.org/officeDocument/2006/relationships/tags" Target="../tags/tag280.xml"/><Relationship Id="rId1" Type="http://schemas.openxmlformats.org/officeDocument/2006/relationships/vmlDrawing" Target="../drawings/vmlDrawing111.vml"/><Relationship Id="rId6" Type="http://schemas.openxmlformats.org/officeDocument/2006/relationships/oleObject" Target="../embeddings/oleObject1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2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3.xml"/><Relationship Id="rId7" Type="http://schemas.openxmlformats.org/officeDocument/2006/relationships/oleObject" Target="../embeddings/oleObject112.bin"/><Relationship Id="rId2" Type="http://schemas.openxmlformats.org/officeDocument/2006/relationships/vmlDrawing" Target="../drawings/vmlDrawing112.vml"/><Relationship Id="rId1" Type="http://schemas.openxmlformats.org/officeDocument/2006/relationships/themeOverride" Target="../theme/themeOverride5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85.xml"/><Relationship Id="rId4" Type="http://schemas.openxmlformats.org/officeDocument/2006/relationships/tags" Target="../tags/tag284.xml"/><Relationship Id="rId9" Type="http://schemas.openxmlformats.org/officeDocument/2006/relationships/image" Target="../media/image7.png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87.xml"/><Relationship Id="rId7" Type="http://schemas.openxmlformats.org/officeDocument/2006/relationships/image" Target="../media/image2.emf"/><Relationship Id="rId2" Type="http://schemas.openxmlformats.org/officeDocument/2006/relationships/tags" Target="../tags/tag286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1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8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89.xml"/><Relationship Id="rId7" Type="http://schemas.openxmlformats.org/officeDocument/2006/relationships/oleObject" Target="../embeddings/oleObject114.bin"/><Relationship Id="rId2" Type="http://schemas.openxmlformats.org/officeDocument/2006/relationships/vmlDrawing" Target="../drawings/vmlDrawing114.vml"/><Relationship Id="rId1" Type="http://schemas.openxmlformats.org/officeDocument/2006/relationships/themeOverride" Target="../theme/themeOverride5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1.xml"/><Relationship Id="rId4" Type="http://schemas.openxmlformats.org/officeDocument/2006/relationships/tags" Target="../tags/tag290.xml"/><Relationship Id="rId9" Type="http://schemas.openxmlformats.org/officeDocument/2006/relationships/image" Target="../media/image7.png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93.xml"/><Relationship Id="rId7" Type="http://schemas.openxmlformats.org/officeDocument/2006/relationships/image" Target="../media/image2.emf"/><Relationship Id="rId2" Type="http://schemas.openxmlformats.org/officeDocument/2006/relationships/tags" Target="../tags/tag292.xml"/><Relationship Id="rId1" Type="http://schemas.openxmlformats.org/officeDocument/2006/relationships/vmlDrawing" Target="../drawings/vmlDrawing115.vml"/><Relationship Id="rId6" Type="http://schemas.openxmlformats.org/officeDocument/2006/relationships/oleObject" Target="../embeddings/oleObject1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4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95.xml"/><Relationship Id="rId7" Type="http://schemas.openxmlformats.org/officeDocument/2006/relationships/oleObject" Target="../embeddings/oleObject116.bin"/><Relationship Id="rId2" Type="http://schemas.openxmlformats.org/officeDocument/2006/relationships/vmlDrawing" Target="../drawings/vmlDrawing116.vml"/><Relationship Id="rId1" Type="http://schemas.openxmlformats.org/officeDocument/2006/relationships/themeOverride" Target="../theme/themeOverride5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97.xml"/><Relationship Id="rId4" Type="http://schemas.openxmlformats.org/officeDocument/2006/relationships/tags" Target="../tags/tag29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99.xml"/><Relationship Id="rId7" Type="http://schemas.openxmlformats.org/officeDocument/2006/relationships/image" Target="../media/image2.emf"/><Relationship Id="rId2" Type="http://schemas.openxmlformats.org/officeDocument/2006/relationships/tags" Target="../tags/tag298.xml"/><Relationship Id="rId1" Type="http://schemas.openxmlformats.org/officeDocument/2006/relationships/vmlDrawing" Target="../drawings/vmlDrawing117.vml"/><Relationship Id="rId6" Type="http://schemas.openxmlformats.org/officeDocument/2006/relationships/oleObject" Target="../embeddings/oleObject1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8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7" Type="http://schemas.openxmlformats.org/officeDocument/2006/relationships/image" Target="../media/image2.emf"/><Relationship Id="rId2" Type="http://schemas.openxmlformats.org/officeDocument/2006/relationships/tags" Target="../tags/tag302.xml"/><Relationship Id="rId1" Type="http://schemas.openxmlformats.org/officeDocument/2006/relationships/vmlDrawing" Target="../drawings/vmlDrawing119.vml"/><Relationship Id="rId6" Type="http://schemas.openxmlformats.org/officeDocument/2006/relationships/oleObject" Target="../embeddings/oleObject11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4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0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20.vml"/><Relationship Id="rId1" Type="http://schemas.openxmlformats.org/officeDocument/2006/relationships/themeOverride" Target="../theme/themeOverride55.xml"/><Relationship Id="rId6" Type="http://schemas.openxmlformats.org/officeDocument/2006/relationships/oleObject" Target="../embeddings/oleObject1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6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Relationship Id="rId9" Type="http://schemas.openxmlformats.org/officeDocument/2006/relationships/image" Target="../media/image5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21.vml"/><Relationship Id="rId1" Type="http://schemas.openxmlformats.org/officeDocument/2006/relationships/themeOverride" Target="../theme/themeOverride56.xml"/><Relationship Id="rId6" Type="http://schemas.openxmlformats.org/officeDocument/2006/relationships/oleObject" Target="../embeddings/oleObject1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310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13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4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26.vml"/><Relationship Id="rId1" Type="http://schemas.openxmlformats.org/officeDocument/2006/relationships/themeOverride" Target="../theme/themeOverride57.xml"/><Relationship Id="rId6" Type="http://schemas.openxmlformats.org/officeDocument/2006/relationships/oleObject" Target="../embeddings/oleObject12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vmlDrawing" Target="../drawings/vmlDrawing127.vml"/><Relationship Id="rId1" Type="http://schemas.openxmlformats.org/officeDocument/2006/relationships/themeOverride" Target="../theme/themeOverride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319.xml"/><Relationship Id="rId2" Type="http://schemas.openxmlformats.org/officeDocument/2006/relationships/vmlDrawing" Target="../drawings/vmlDrawing128.vml"/><Relationship Id="rId1" Type="http://schemas.openxmlformats.org/officeDocument/2006/relationships/themeOverride" Target="../theme/themeOverride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2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29.vml"/><Relationship Id="rId1" Type="http://schemas.openxmlformats.org/officeDocument/2006/relationships/themeOverride" Target="../theme/themeOverride60.xml"/><Relationship Id="rId6" Type="http://schemas.openxmlformats.org/officeDocument/2006/relationships/oleObject" Target="../embeddings/oleObject12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8.xml"/><Relationship Id="rId7" Type="http://schemas.openxmlformats.org/officeDocument/2006/relationships/oleObject" Target="../embeddings/oleObject14.bin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10" Type="http://schemas.openxmlformats.org/officeDocument/2006/relationships/image" Target="../media/image5.png"/><Relationship Id="rId4" Type="http://schemas.openxmlformats.org/officeDocument/2006/relationships/tags" Target="../tags/tag39.xml"/><Relationship Id="rId9" Type="http://schemas.openxmlformats.org/officeDocument/2006/relationships/image" Target="../media/image10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26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33.vml"/><Relationship Id="rId1" Type="http://schemas.openxmlformats.org/officeDocument/2006/relationships/themeOverride" Target="../theme/themeOverride61.xml"/><Relationship Id="rId6" Type="http://schemas.openxmlformats.org/officeDocument/2006/relationships/oleObject" Target="../embeddings/oleObject13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134.vml"/><Relationship Id="rId1" Type="http://schemas.openxmlformats.org/officeDocument/2006/relationships/themeOverride" Target="../theme/themeOverride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2.xml"/><Relationship Id="rId7" Type="http://schemas.openxmlformats.org/officeDocument/2006/relationships/image" Target="../media/image3.tmp"/><Relationship Id="rId2" Type="http://schemas.openxmlformats.org/officeDocument/2006/relationships/tags" Target="../tags/tag331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png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34.xml"/><Relationship Id="rId7" Type="http://schemas.openxmlformats.org/officeDocument/2006/relationships/image" Target="../media/image2.emf"/><Relationship Id="rId2" Type="http://schemas.openxmlformats.org/officeDocument/2006/relationships/tags" Target="../tags/tag333.xml"/><Relationship Id="rId1" Type="http://schemas.openxmlformats.org/officeDocument/2006/relationships/vmlDrawing" Target="../drawings/vmlDrawing137.vml"/><Relationship Id="rId6" Type="http://schemas.openxmlformats.org/officeDocument/2006/relationships/oleObject" Target="../embeddings/oleObject13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7" Type="http://schemas.openxmlformats.org/officeDocument/2006/relationships/image" Target="../media/image2.emf"/><Relationship Id="rId2" Type="http://schemas.openxmlformats.org/officeDocument/2006/relationships/tags" Target="../tags/tag336.xml"/><Relationship Id="rId1" Type="http://schemas.openxmlformats.org/officeDocument/2006/relationships/vmlDrawing" Target="../drawings/vmlDrawing138.vml"/><Relationship Id="rId6" Type="http://schemas.openxmlformats.org/officeDocument/2006/relationships/oleObject" Target="../embeddings/oleObject13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image" Target="../media/image2.emf"/><Relationship Id="rId2" Type="http://schemas.openxmlformats.org/officeDocument/2006/relationships/tags" Target="../tags/tag339.xml"/><Relationship Id="rId1" Type="http://schemas.openxmlformats.org/officeDocument/2006/relationships/vmlDrawing" Target="../drawings/vmlDrawing139.vml"/><Relationship Id="rId6" Type="http://schemas.openxmlformats.org/officeDocument/2006/relationships/oleObject" Target="../embeddings/oleObject13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4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40.vml"/><Relationship Id="rId1" Type="http://schemas.openxmlformats.org/officeDocument/2006/relationships/themeOverride" Target="../theme/themeOverride63.xml"/><Relationship Id="rId6" Type="http://schemas.openxmlformats.org/officeDocument/2006/relationships/oleObject" Target="../embeddings/oleObject14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43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44.xml"/><Relationship Id="rId7" Type="http://schemas.openxmlformats.org/officeDocument/2006/relationships/oleObject" Target="../embeddings/oleObject141.bin"/><Relationship Id="rId2" Type="http://schemas.openxmlformats.org/officeDocument/2006/relationships/vmlDrawing" Target="../drawings/vmlDrawing141.vml"/><Relationship Id="rId1" Type="http://schemas.openxmlformats.org/officeDocument/2006/relationships/themeOverride" Target="../theme/themeOverride6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46.xml"/><Relationship Id="rId4" Type="http://schemas.openxmlformats.org/officeDocument/2006/relationships/tags" Target="../tags/tag345.xml"/><Relationship Id="rId9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47.xml"/><Relationship Id="rId7" Type="http://schemas.openxmlformats.org/officeDocument/2006/relationships/oleObject" Target="../embeddings/oleObject142.bin"/><Relationship Id="rId2" Type="http://schemas.openxmlformats.org/officeDocument/2006/relationships/vmlDrawing" Target="../drawings/vmlDrawing142.vml"/><Relationship Id="rId1" Type="http://schemas.openxmlformats.org/officeDocument/2006/relationships/themeOverride" Target="../theme/themeOverride6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49.xml"/><Relationship Id="rId4" Type="http://schemas.openxmlformats.org/officeDocument/2006/relationships/tags" Target="../tags/tag348.xml"/><Relationship Id="rId9" Type="http://schemas.openxmlformats.org/officeDocument/2006/relationships/image" Target="../media/image6.png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50.xml"/><Relationship Id="rId7" Type="http://schemas.openxmlformats.org/officeDocument/2006/relationships/oleObject" Target="../embeddings/oleObject143.bin"/><Relationship Id="rId2" Type="http://schemas.openxmlformats.org/officeDocument/2006/relationships/vmlDrawing" Target="../drawings/vmlDrawing143.vml"/><Relationship Id="rId1" Type="http://schemas.openxmlformats.org/officeDocument/2006/relationships/themeOverride" Target="../theme/themeOverride6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2.xml"/><Relationship Id="rId4" Type="http://schemas.openxmlformats.org/officeDocument/2006/relationships/tags" Target="../tags/tag351.xml"/><Relationship Id="rId9" Type="http://schemas.openxmlformats.org/officeDocument/2006/relationships/image" Target="../media/image6.png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53.xml"/><Relationship Id="rId7" Type="http://schemas.openxmlformats.org/officeDocument/2006/relationships/oleObject" Target="../embeddings/oleObject144.bin"/><Relationship Id="rId2" Type="http://schemas.openxmlformats.org/officeDocument/2006/relationships/vmlDrawing" Target="../drawings/vmlDrawing144.vml"/><Relationship Id="rId1" Type="http://schemas.openxmlformats.org/officeDocument/2006/relationships/themeOverride" Target="../theme/themeOverride6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5.xml"/><Relationship Id="rId4" Type="http://schemas.openxmlformats.org/officeDocument/2006/relationships/tags" Target="../tags/tag354.xml"/><Relationship Id="rId9" Type="http://schemas.openxmlformats.org/officeDocument/2006/relationships/image" Target="../media/image6.png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56.xml"/><Relationship Id="rId7" Type="http://schemas.openxmlformats.org/officeDocument/2006/relationships/oleObject" Target="../embeddings/oleObject145.bin"/><Relationship Id="rId2" Type="http://schemas.openxmlformats.org/officeDocument/2006/relationships/vmlDrawing" Target="../drawings/vmlDrawing145.vml"/><Relationship Id="rId1" Type="http://schemas.openxmlformats.org/officeDocument/2006/relationships/themeOverride" Target="../theme/themeOverride6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8.xml"/><Relationship Id="rId4" Type="http://schemas.openxmlformats.org/officeDocument/2006/relationships/tags" Target="../tags/tag357.xml"/><Relationship Id="rId9" Type="http://schemas.openxmlformats.org/officeDocument/2006/relationships/image" Target="../media/image6.png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59.xml"/><Relationship Id="rId7" Type="http://schemas.openxmlformats.org/officeDocument/2006/relationships/oleObject" Target="../embeddings/oleObject146.bin"/><Relationship Id="rId2" Type="http://schemas.openxmlformats.org/officeDocument/2006/relationships/vmlDrawing" Target="../drawings/vmlDrawing146.vml"/><Relationship Id="rId1" Type="http://schemas.openxmlformats.org/officeDocument/2006/relationships/themeOverride" Target="../theme/themeOverride6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61.xml"/><Relationship Id="rId4" Type="http://schemas.openxmlformats.org/officeDocument/2006/relationships/tags" Target="../tags/tag360.xml"/><Relationship Id="rId9" Type="http://schemas.openxmlformats.org/officeDocument/2006/relationships/image" Target="../media/image7.png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63.xml"/><Relationship Id="rId7" Type="http://schemas.openxmlformats.org/officeDocument/2006/relationships/image" Target="../media/image2.emf"/><Relationship Id="rId2" Type="http://schemas.openxmlformats.org/officeDocument/2006/relationships/tags" Target="../tags/tag362.xml"/><Relationship Id="rId1" Type="http://schemas.openxmlformats.org/officeDocument/2006/relationships/vmlDrawing" Target="../drawings/vmlDrawing147.vml"/><Relationship Id="rId6" Type="http://schemas.openxmlformats.org/officeDocument/2006/relationships/oleObject" Target="../embeddings/oleObject14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64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65.xml"/><Relationship Id="rId7" Type="http://schemas.openxmlformats.org/officeDocument/2006/relationships/oleObject" Target="../embeddings/oleObject148.bin"/><Relationship Id="rId2" Type="http://schemas.openxmlformats.org/officeDocument/2006/relationships/vmlDrawing" Target="../drawings/vmlDrawing148.vml"/><Relationship Id="rId1" Type="http://schemas.openxmlformats.org/officeDocument/2006/relationships/themeOverride" Target="../theme/themeOverride7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67.xml"/><Relationship Id="rId4" Type="http://schemas.openxmlformats.org/officeDocument/2006/relationships/tags" Target="../tags/tag366.xml"/><Relationship Id="rId9" Type="http://schemas.openxmlformats.org/officeDocument/2006/relationships/image" Target="../media/image10.png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69.xml"/><Relationship Id="rId7" Type="http://schemas.openxmlformats.org/officeDocument/2006/relationships/image" Target="../media/image2.emf"/><Relationship Id="rId2" Type="http://schemas.openxmlformats.org/officeDocument/2006/relationships/tags" Target="../tags/tag368.xml"/><Relationship Id="rId1" Type="http://schemas.openxmlformats.org/officeDocument/2006/relationships/vmlDrawing" Target="../drawings/vmlDrawing149.vml"/><Relationship Id="rId6" Type="http://schemas.openxmlformats.org/officeDocument/2006/relationships/oleObject" Target="../embeddings/oleObject14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70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1.xml"/><Relationship Id="rId7" Type="http://schemas.openxmlformats.org/officeDocument/2006/relationships/oleObject" Target="../embeddings/oleObject150.bin"/><Relationship Id="rId2" Type="http://schemas.openxmlformats.org/officeDocument/2006/relationships/vmlDrawing" Target="../drawings/vmlDrawing150.vml"/><Relationship Id="rId1" Type="http://schemas.openxmlformats.org/officeDocument/2006/relationships/themeOverride" Target="../theme/themeOverride7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73.xml"/><Relationship Id="rId4" Type="http://schemas.openxmlformats.org/officeDocument/2006/relationships/tags" Target="../tags/tag372.xml"/><Relationship Id="rId9" Type="http://schemas.openxmlformats.org/officeDocument/2006/relationships/image" Target="../media/image7.png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75.xml"/><Relationship Id="rId7" Type="http://schemas.openxmlformats.org/officeDocument/2006/relationships/image" Target="../media/image2.emf"/><Relationship Id="rId2" Type="http://schemas.openxmlformats.org/officeDocument/2006/relationships/tags" Target="../tags/tag374.xml"/><Relationship Id="rId1" Type="http://schemas.openxmlformats.org/officeDocument/2006/relationships/vmlDrawing" Target="../drawings/vmlDrawing151.vml"/><Relationship Id="rId6" Type="http://schemas.openxmlformats.org/officeDocument/2006/relationships/oleObject" Target="../embeddings/oleObject15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76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4.xml"/><Relationship Id="rId7" Type="http://schemas.openxmlformats.org/officeDocument/2006/relationships/oleObject" Target="../embeddings/oleObject16.bin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10" Type="http://schemas.openxmlformats.org/officeDocument/2006/relationships/image" Target="../media/image5.png"/><Relationship Id="rId4" Type="http://schemas.openxmlformats.org/officeDocument/2006/relationships/tags" Target="../tags/tag45.xml"/><Relationship Id="rId9" Type="http://schemas.openxmlformats.org/officeDocument/2006/relationships/image" Target="../media/image7.png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7.xml"/><Relationship Id="rId7" Type="http://schemas.openxmlformats.org/officeDocument/2006/relationships/oleObject" Target="../embeddings/oleObject152.bin"/><Relationship Id="rId2" Type="http://schemas.openxmlformats.org/officeDocument/2006/relationships/vmlDrawing" Target="../drawings/vmlDrawing152.vml"/><Relationship Id="rId1" Type="http://schemas.openxmlformats.org/officeDocument/2006/relationships/themeOverride" Target="../theme/themeOverride7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79.xml"/><Relationship Id="rId4" Type="http://schemas.openxmlformats.org/officeDocument/2006/relationships/tags" Target="../tags/tag378.xml"/><Relationship Id="rId9" Type="http://schemas.openxmlformats.org/officeDocument/2006/relationships/image" Target="../media/image7.png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81.xml"/><Relationship Id="rId7" Type="http://schemas.openxmlformats.org/officeDocument/2006/relationships/image" Target="../media/image2.emf"/><Relationship Id="rId2" Type="http://schemas.openxmlformats.org/officeDocument/2006/relationships/tags" Target="../tags/tag380.xml"/><Relationship Id="rId1" Type="http://schemas.openxmlformats.org/officeDocument/2006/relationships/vmlDrawing" Target="../drawings/vmlDrawing153.vml"/><Relationship Id="rId6" Type="http://schemas.openxmlformats.org/officeDocument/2006/relationships/oleObject" Target="../embeddings/oleObject15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82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83.xml"/><Relationship Id="rId7" Type="http://schemas.openxmlformats.org/officeDocument/2006/relationships/oleObject" Target="../embeddings/oleObject154.bin"/><Relationship Id="rId2" Type="http://schemas.openxmlformats.org/officeDocument/2006/relationships/vmlDrawing" Target="../drawings/vmlDrawing154.vml"/><Relationship Id="rId1" Type="http://schemas.openxmlformats.org/officeDocument/2006/relationships/themeOverride" Target="../theme/themeOverride7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85.xml"/><Relationship Id="rId4" Type="http://schemas.openxmlformats.org/officeDocument/2006/relationships/tags" Target="../tags/tag38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7" Type="http://schemas.openxmlformats.org/officeDocument/2006/relationships/image" Target="../media/image2.emf"/><Relationship Id="rId2" Type="http://schemas.openxmlformats.org/officeDocument/2006/relationships/tags" Target="../tags/tag386.xml"/><Relationship Id="rId1" Type="http://schemas.openxmlformats.org/officeDocument/2006/relationships/vmlDrawing" Target="../drawings/vmlDrawing155.vml"/><Relationship Id="rId6" Type="http://schemas.openxmlformats.org/officeDocument/2006/relationships/oleObject" Target="../embeddings/oleObject15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88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6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7" Type="http://schemas.openxmlformats.org/officeDocument/2006/relationships/image" Target="../media/image2.emf"/><Relationship Id="rId2" Type="http://schemas.openxmlformats.org/officeDocument/2006/relationships/tags" Target="../tags/tag390.xml"/><Relationship Id="rId1" Type="http://schemas.openxmlformats.org/officeDocument/2006/relationships/vmlDrawing" Target="../drawings/vmlDrawing157.vml"/><Relationship Id="rId6" Type="http://schemas.openxmlformats.org/officeDocument/2006/relationships/oleObject" Target="../embeddings/oleObject15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92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94.xml"/><Relationship Id="rId7" Type="http://schemas.openxmlformats.org/officeDocument/2006/relationships/image" Target="../media/image2.emf"/><Relationship Id="rId2" Type="http://schemas.openxmlformats.org/officeDocument/2006/relationships/tags" Target="../tags/tag393.xml"/><Relationship Id="rId1" Type="http://schemas.openxmlformats.org/officeDocument/2006/relationships/vmlDrawing" Target="../drawings/vmlDrawing158.vml"/><Relationship Id="rId6" Type="http://schemas.openxmlformats.org/officeDocument/2006/relationships/oleObject" Target="../embeddings/oleObject15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9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39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59.vml"/><Relationship Id="rId1" Type="http://schemas.openxmlformats.org/officeDocument/2006/relationships/themeOverride" Target="../theme/themeOverride74.xml"/><Relationship Id="rId6" Type="http://schemas.openxmlformats.org/officeDocument/2006/relationships/oleObject" Target="../embeddings/oleObject15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97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99.xml"/><Relationship Id="rId7" Type="http://schemas.openxmlformats.org/officeDocument/2006/relationships/image" Target="../media/image2.emf"/><Relationship Id="rId2" Type="http://schemas.openxmlformats.org/officeDocument/2006/relationships/tags" Target="../tags/tag398.xml"/><Relationship Id="rId1" Type="http://schemas.openxmlformats.org/officeDocument/2006/relationships/vmlDrawing" Target="../drawings/vmlDrawing160.vml"/><Relationship Id="rId6" Type="http://schemas.openxmlformats.org/officeDocument/2006/relationships/oleObject" Target="../embeddings/oleObject16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00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02.xml"/><Relationship Id="rId7" Type="http://schemas.openxmlformats.org/officeDocument/2006/relationships/image" Target="../media/image2.emf"/><Relationship Id="rId2" Type="http://schemas.openxmlformats.org/officeDocument/2006/relationships/tags" Target="../tags/tag401.xml"/><Relationship Id="rId1" Type="http://schemas.openxmlformats.org/officeDocument/2006/relationships/vmlDrawing" Target="../drawings/vmlDrawing161.vml"/><Relationship Id="rId6" Type="http://schemas.openxmlformats.org/officeDocument/2006/relationships/oleObject" Target="../embeddings/oleObject16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0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8.xml"/><Relationship Id="rId7" Type="http://schemas.openxmlformats.org/officeDocument/2006/relationships/image" Target="../media/image2.emf"/><Relationship Id="rId2" Type="http://schemas.openxmlformats.org/officeDocument/2006/relationships/tags" Target="../tags/tag4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405.xml"/><Relationship Id="rId7" Type="http://schemas.openxmlformats.org/officeDocument/2006/relationships/image" Target="../media/image2.emf"/><Relationship Id="rId2" Type="http://schemas.openxmlformats.org/officeDocument/2006/relationships/tags" Target="../tags/tag404.xml"/><Relationship Id="rId1" Type="http://schemas.openxmlformats.org/officeDocument/2006/relationships/vmlDrawing" Target="../drawings/vmlDrawing162.vml"/><Relationship Id="rId6" Type="http://schemas.openxmlformats.org/officeDocument/2006/relationships/oleObject" Target="../embeddings/oleObject16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0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408.xml"/><Relationship Id="rId7" Type="http://schemas.openxmlformats.org/officeDocument/2006/relationships/image" Target="../media/image2.emf"/><Relationship Id="rId2" Type="http://schemas.openxmlformats.org/officeDocument/2006/relationships/tags" Target="../tags/tag407.xml"/><Relationship Id="rId1" Type="http://schemas.openxmlformats.org/officeDocument/2006/relationships/vmlDrawing" Target="../drawings/vmlDrawing163.vml"/><Relationship Id="rId6" Type="http://schemas.openxmlformats.org/officeDocument/2006/relationships/oleObject" Target="../embeddings/oleObject16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0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411.xml"/><Relationship Id="rId2" Type="http://schemas.openxmlformats.org/officeDocument/2006/relationships/tags" Target="../tags/tag410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12.xml"/><Relationship Id="rId7" Type="http://schemas.openxmlformats.org/officeDocument/2006/relationships/oleObject" Target="../embeddings/oleObject165.bin"/><Relationship Id="rId2" Type="http://schemas.openxmlformats.org/officeDocument/2006/relationships/vmlDrawing" Target="../drawings/vmlDrawing165.vml"/><Relationship Id="rId1" Type="http://schemas.openxmlformats.org/officeDocument/2006/relationships/themeOverride" Target="../theme/themeOverride7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14.xml"/><Relationship Id="rId4" Type="http://schemas.openxmlformats.org/officeDocument/2006/relationships/tags" Target="../tags/tag413.xml"/><Relationship Id="rId9" Type="http://schemas.openxmlformats.org/officeDocument/2006/relationships/image" Target="../media/image6.png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15.xml"/><Relationship Id="rId7" Type="http://schemas.openxmlformats.org/officeDocument/2006/relationships/oleObject" Target="../embeddings/oleObject166.bin"/><Relationship Id="rId2" Type="http://schemas.openxmlformats.org/officeDocument/2006/relationships/vmlDrawing" Target="../drawings/vmlDrawing166.vml"/><Relationship Id="rId1" Type="http://schemas.openxmlformats.org/officeDocument/2006/relationships/themeOverride" Target="../theme/themeOverride7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17.xml"/><Relationship Id="rId4" Type="http://schemas.openxmlformats.org/officeDocument/2006/relationships/tags" Target="../tags/tag416.xml"/><Relationship Id="rId9" Type="http://schemas.openxmlformats.org/officeDocument/2006/relationships/image" Target="../media/image6.png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18.xml"/><Relationship Id="rId7" Type="http://schemas.openxmlformats.org/officeDocument/2006/relationships/oleObject" Target="../embeddings/oleObject167.bin"/><Relationship Id="rId2" Type="http://schemas.openxmlformats.org/officeDocument/2006/relationships/vmlDrawing" Target="../drawings/vmlDrawing167.vml"/><Relationship Id="rId1" Type="http://schemas.openxmlformats.org/officeDocument/2006/relationships/themeOverride" Target="../theme/themeOverride77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20.xml"/><Relationship Id="rId4" Type="http://schemas.openxmlformats.org/officeDocument/2006/relationships/tags" Target="../tags/tag419.xml"/><Relationship Id="rId9" Type="http://schemas.openxmlformats.org/officeDocument/2006/relationships/image" Target="../media/image6.png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21.xml"/><Relationship Id="rId7" Type="http://schemas.openxmlformats.org/officeDocument/2006/relationships/oleObject" Target="../embeddings/oleObject168.bin"/><Relationship Id="rId2" Type="http://schemas.openxmlformats.org/officeDocument/2006/relationships/vmlDrawing" Target="../drawings/vmlDrawing168.vml"/><Relationship Id="rId1" Type="http://schemas.openxmlformats.org/officeDocument/2006/relationships/themeOverride" Target="../theme/themeOverride78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23.xml"/><Relationship Id="rId4" Type="http://schemas.openxmlformats.org/officeDocument/2006/relationships/tags" Target="../tags/tag422.xml"/><Relationship Id="rId9" Type="http://schemas.openxmlformats.org/officeDocument/2006/relationships/image" Target="../media/image6.png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24.xml"/><Relationship Id="rId7" Type="http://schemas.openxmlformats.org/officeDocument/2006/relationships/oleObject" Target="../embeddings/oleObject169.bin"/><Relationship Id="rId2" Type="http://schemas.openxmlformats.org/officeDocument/2006/relationships/vmlDrawing" Target="../drawings/vmlDrawing169.vml"/><Relationship Id="rId1" Type="http://schemas.openxmlformats.org/officeDocument/2006/relationships/themeOverride" Target="../theme/themeOverride7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26.xml"/><Relationship Id="rId4" Type="http://schemas.openxmlformats.org/officeDocument/2006/relationships/tags" Target="../tags/tag425.xml"/><Relationship Id="rId9" Type="http://schemas.openxmlformats.org/officeDocument/2006/relationships/image" Target="../media/image6.png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27.xml"/><Relationship Id="rId7" Type="http://schemas.openxmlformats.org/officeDocument/2006/relationships/oleObject" Target="../embeddings/oleObject170.bin"/><Relationship Id="rId2" Type="http://schemas.openxmlformats.org/officeDocument/2006/relationships/vmlDrawing" Target="../drawings/vmlDrawing170.vml"/><Relationship Id="rId1" Type="http://schemas.openxmlformats.org/officeDocument/2006/relationships/themeOverride" Target="../theme/themeOverride8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29.xml"/><Relationship Id="rId4" Type="http://schemas.openxmlformats.org/officeDocument/2006/relationships/tags" Target="../tags/tag428.xml"/><Relationship Id="rId9" Type="http://schemas.openxmlformats.org/officeDocument/2006/relationships/image" Target="../media/image6.png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430.xml"/><Relationship Id="rId7" Type="http://schemas.openxmlformats.org/officeDocument/2006/relationships/oleObject" Target="../embeddings/oleObject171.bin"/><Relationship Id="rId2" Type="http://schemas.openxmlformats.org/officeDocument/2006/relationships/vmlDrawing" Target="../drawings/vmlDrawing171.vml"/><Relationship Id="rId1" Type="http://schemas.openxmlformats.org/officeDocument/2006/relationships/themeOverride" Target="../theme/themeOverride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32.xml"/><Relationship Id="rId4" Type="http://schemas.openxmlformats.org/officeDocument/2006/relationships/tags" Target="../tags/tag431.xml"/><Relationship Id="rId9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0.xml"/><Relationship Id="rId7" Type="http://schemas.openxmlformats.org/officeDocument/2006/relationships/oleObject" Target="../embeddings/oleObject18.bin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10" Type="http://schemas.openxmlformats.org/officeDocument/2006/relationships/image" Target="../media/image5.png"/><Relationship Id="rId4" Type="http://schemas.openxmlformats.org/officeDocument/2006/relationships/tags" Target="../tags/tag51.xml"/><Relationship Id="rId9" Type="http://schemas.openxmlformats.org/officeDocument/2006/relationships/image" Target="../media/image7.png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34.xml"/><Relationship Id="rId7" Type="http://schemas.openxmlformats.org/officeDocument/2006/relationships/image" Target="../media/image2.emf"/><Relationship Id="rId2" Type="http://schemas.openxmlformats.org/officeDocument/2006/relationships/tags" Target="../tags/tag433.xml"/><Relationship Id="rId1" Type="http://schemas.openxmlformats.org/officeDocument/2006/relationships/vmlDrawing" Target="../drawings/vmlDrawing172.vml"/><Relationship Id="rId6" Type="http://schemas.openxmlformats.org/officeDocument/2006/relationships/oleObject" Target="../embeddings/oleObject17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35.xml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36.xml"/><Relationship Id="rId7" Type="http://schemas.openxmlformats.org/officeDocument/2006/relationships/oleObject" Target="../embeddings/oleObject173.bin"/><Relationship Id="rId2" Type="http://schemas.openxmlformats.org/officeDocument/2006/relationships/vmlDrawing" Target="../drawings/vmlDrawing173.vml"/><Relationship Id="rId1" Type="http://schemas.openxmlformats.org/officeDocument/2006/relationships/themeOverride" Target="../theme/themeOverride82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38.xml"/><Relationship Id="rId4" Type="http://schemas.openxmlformats.org/officeDocument/2006/relationships/tags" Target="../tags/tag437.xml"/><Relationship Id="rId9" Type="http://schemas.openxmlformats.org/officeDocument/2006/relationships/image" Target="../media/image10.png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440.xml"/><Relationship Id="rId7" Type="http://schemas.openxmlformats.org/officeDocument/2006/relationships/image" Target="../media/image2.emf"/><Relationship Id="rId2" Type="http://schemas.openxmlformats.org/officeDocument/2006/relationships/tags" Target="../tags/tag439.xml"/><Relationship Id="rId1" Type="http://schemas.openxmlformats.org/officeDocument/2006/relationships/vmlDrawing" Target="../drawings/vmlDrawing174.vml"/><Relationship Id="rId6" Type="http://schemas.openxmlformats.org/officeDocument/2006/relationships/oleObject" Target="../embeddings/oleObject17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41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42.xml"/><Relationship Id="rId7" Type="http://schemas.openxmlformats.org/officeDocument/2006/relationships/oleObject" Target="../embeddings/oleObject175.bin"/><Relationship Id="rId2" Type="http://schemas.openxmlformats.org/officeDocument/2006/relationships/vmlDrawing" Target="../drawings/vmlDrawing175.vml"/><Relationship Id="rId1" Type="http://schemas.openxmlformats.org/officeDocument/2006/relationships/themeOverride" Target="../theme/themeOverride8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44.xml"/><Relationship Id="rId4" Type="http://schemas.openxmlformats.org/officeDocument/2006/relationships/tags" Target="../tags/tag443.xml"/><Relationship Id="rId9" Type="http://schemas.openxmlformats.org/officeDocument/2006/relationships/image" Target="../media/image7.png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46.xml"/><Relationship Id="rId7" Type="http://schemas.openxmlformats.org/officeDocument/2006/relationships/image" Target="../media/image2.emf"/><Relationship Id="rId2" Type="http://schemas.openxmlformats.org/officeDocument/2006/relationships/tags" Target="../tags/tag445.xml"/><Relationship Id="rId1" Type="http://schemas.openxmlformats.org/officeDocument/2006/relationships/vmlDrawing" Target="../drawings/vmlDrawing176.vml"/><Relationship Id="rId6" Type="http://schemas.openxmlformats.org/officeDocument/2006/relationships/oleObject" Target="../embeddings/oleObject17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47.xml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48.xml"/><Relationship Id="rId7" Type="http://schemas.openxmlformats.org/officeDocument/2006/relationships/oleObject" Target="../embeddings/oleObject177.bin"/><Relationship Id="rId2" Type="http://schemas.openxmlformats.org/officeDocument/2006/relationships/vmlDrawing" Target="../drawings/vmlDrawing177.vml"/><Relationship Id="rId1" Type="http://schemas.openxmlformats.org/officeDocument/2006/relationships/themeOverride" Target="../theme/themeOverride8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50.xml"/><Relationship Id="rId4" Type="http://schemas.openxmlformats.org/officeDocument/2006/relationships/tags" Target="../tags/tag449.xml"/><Relationship Id="rId9" Type="http://schemas.openxmlformats.org/officeDocument/2006/relationships/image" Target="../media/image7.png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52.xml"/><Relationship Id="rId7" Type="http://schemas.openxmlformats.org/officeDocument/2006/relationships/image" Target="../media/image2.emf"/><Relationship Id="rId2" Type="http://schemas.openxmlformats.org/officeDocument/2006/relationships/tags" Target="../tags/tag451.xml"/><Relationship Id="rId1" Type="http://schemas.openxmlformats.org/officeDocument/2006/relationships/vmlDrawing" Target="../drawings/vmlDrawing178.vml"/><Relationship Id="rId6" Type="http://schemas.openxmlformats.org/officeDocument/2006/relationships/oleObject" Target="../embeddings/oleObject17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53.xml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54.xml"/><Relationship Id="rId7" Type="http://schemas.openxmlformats.org/officeDocument/2006/relationships/oleObject" Target="../embeddings/oleObject179.bin"/><Relationship Id="rId2" Type="http://schemas.openxmlformats.org/officeDocument/2006/relationships/vmlDrawing" Target="../drawings/vmlDrawing179.vml"/><Relationship Id="rId1" Type="http://schemas.openxmlformats.org/officeDocument/2006/relationships/themeOverride" Target="../theme/themeOverride85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56.xml"/><Relationship Id="rId4" Type="http://schemas.openxmlformats.org/officeDocument/2006/relationships/tags" Target="../tags/tag45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tags" Target="../tags/tag458.xml"/><Relationship Id="rId7" Type="http://schemas.openxmlformats.org/officeDocument/2006/relationships/image" Target="../media/image2.emf"/><Relationship Id="rId2" Type="http://schemas.openxmlformats.org/officeDocument/2006/relationships/tags" Target="../tags/tag457.xml"/><Relationship Id="rId1" Type="http://schemas.openxmlformats.org/officeDocument/2006/relationships/vmlDrawing" Target="../drawings/vmlDrawing180.vml"/><Relationship Id="rId6" Type="http://schemas.openxmlformats.org/officeDocument/2006/relationships/oleObject" Target="../embeddings/oleObject18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59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1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4.xml"/><Relationship Id="rId7" Type="http://schemas.openxmlformats.org/officeDocument/2006/relationships/image" Target="../media/image2.emf"/><Relationship Id="rId2" Type="http://schemas.openxmlformats.org/officeDocument/2006/relationships/tags" Target="../tags/tag5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tags" Target="../tags/tag462.xml"/><Relationship Id="rId7" Type="http://schemas.openxmlformats.org/officeDocument/2006/relationships/image" Target="../media/image2.emf"/><Relationship Id="rId2" Type="http://schemas.openxmlformats.org/officeDocument/2006/relationships/tags" Target="../tags/tag461.xml"/><Relationship Id="rId1" Type="http://schemas.openxmlformats.org/officeDocument/2006/relationships/vmlDrawing" Target="../drawings/vmlDrawing182.vml"/><Relationship Id="rId6" Type="http://schemas.openxmlformats.org/officeDocument/2006/relationships/oleObject" Target="../embeddings/oleObject18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63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64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83.vml"/><Relationship Id="rId1" Type="http://schemas.openxmlformats.org/officeDocument/2006/relationships/themeOverride" Target="../theme/themeOverride86.xml"/><Relationship Id="rId6" Type="http://schemas.openxmlformats.org/officeDocument/2006/relationships/oleObject" Target="../embeddings/oleObject18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65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tags" Target="../tags/tag46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84.vml"/><Relationship Id="rId1" Type="http://schemas.openxmlformats.org/officeDocument/2006/relationships/themeOverride" Target="../theme/themeOverride87.xml"/><Relationship Id="rId6" Type="http://schemas.openxmlformats.org/officeDocument/2006/relationships/oleObject" Target="../embeddings/oleObject18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67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69.xml"/><Relationship Id="rId7" Type="http://schemas.openxmlformats.org/officeDocument/2006/relationships/image" Target="../media/image2.emf"/><Relationship Id="rId2" Type="http://schemas.openxmlformats.org/officeDocument/2006/relationships/tags" Target="../tags/tag468.xml"/><Relationship Id="rId1" Type="http://schemas.openxmlformats.org/officeDocument/2006/relationships/vmlDrawing" Target="../drawings/vmlDrawing185.vml"/><Relationship Id="rId6" Type="http://schemas.openxmlformats.org/officeDocument/2006/relationships/oleObject" Target="../embeddings/oleObject18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70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72.xml"/><Relationship Id="rId7" Type="http://schemas.openxmlformats.org/officeDocument/2006/relationships/image" Target="../media/image2.emf"/><Relationship Id="rId2" Type="http://schemas.openxmlformats.org/officeDocument/2006/relationships/tags" Target="../tags/tag471.xml"/><Relationship Id="rId1" Type="http://schemas.openxmlformats.org/officeDocument/2006/relationships/vmlDrawing" Target="../drawings/vmlDrawing186.vml"/><Relationship Id="rId6" Type="http://schemas.openxmlformats.org/officeDocument/2006/relationships/oleObject" Target="../embeddings/oleObject18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73.xml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474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3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7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47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88.vml"/><Relationship Id="rId1" Type="http://schemas.openxmlformats.org/officeDocument/2006/relationships/themeOverride" Target="../theme/themeOverride88.xml"/><Relationship Id="rId6" Type="http://schemas.openxmlformats.org/officeDocument/2006/relationships/oleObject" Target="../embeddings/oleObject18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76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477.xml"/><Relationship Id="rId2" Type="http://schemas.openxmlformats.org/officeDocument/2006/relationships/vmlDrawing" Target="../drawings/vmlDrawing189.vml"/><Relationship Id="rId1" Type="http://schemas.openxmlformats.org/officeDocument/2006/relationships/themeOverride" Target="../theme/themeOverride8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478.xml"/><Relationship Id="rId2" Type="http://schemas.openxmlformats.org/officeDocument/2006/relationships/vmlDrawing" Target="../drawings/vmlDrawing190.vml"/><Relationship Id="rId1" Type="http://schemas.openxmlformats.org/officeDocument/2006/relationships/themeOverride" Target="../theme/themeOverride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7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91.vml"/><Relationship Id="rId1" Type="http://schemas.openxmlformats.org/officeDocument/2006/relationships/themeOverride" Target="../theme/themeOverride91.xml"/><Relationship Id="rId6" Type="http://schemas.openxmlformats.org/officeDocument/2006/relationships/oleObject" Target="../embeddings/oleObject19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80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6.xml"/><Relationship Id="rId7" Type="http://schemas.openxmlformats.org/officeDocument/2006/relationships/oleObject" Target="../embeddings/oleObject20.bin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482.xml"/><Relationship Id="rId2" Type="http://schemas.openxmlformats.org/officeDocument/2006/relationships/tags" Target="../tags/tag481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3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3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4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4.bin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8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95.vml"/><Relationship Id="rId1" Type="http://schemas.openxmlformats.org/officeDocument/2006/relationships/themeOverride" Target="../theme/themeOverride92.xml"/><Relationship Id="rId6" Type="http://schemas.openxmlformats.org/officeDocument/2006/relationships/oleObject" Target="../embeddings/oleObject19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8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487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196.vml"/><Relationship Id="rId1" Type="http://schemas.openxmlformats.org/officeDocument/2006/relationships/themeOverride" Target="../theme/themeOverride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6.bin"/><Relationship Id="rId4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9.xml"/><Relationship Id="rId1" Type="http://schemas.openxmlformats.org/officeDocument/2006/relationships/vmlDrawing" Target="../drawings/vmlDrawing198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98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0.xml"/><Relationship Id="rId1" Type="http://schemas.openxmlformats.org/officeDocument/2006/relationships/vmlDrawing" Target="../drawings/vmlDrawing19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99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1.xml"/><Relationship Id="rId1" Type="http://schemas.openxmlformats.org/officeDocument/2006/relationships/vmlDrawing" Target="../drawings/vmlDrawing200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0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2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1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3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2.emf"/><Relationship Id="rId2" Type="http://schemas.openxmlformats.org/officeDocument/2006/relationships/tags" Target="../tags/tag5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4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3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5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4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6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5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6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8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7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9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0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0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9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1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1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0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1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3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1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4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3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5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1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4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6.xml"/><Relationship Id="rId1" Type="http://schemas.openxmlformats.org/officeDocument/2006/relationships/vmlDrawing" Target="../drawings/vmlDrawing21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5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7.xml"/><Relationship Id="rId1" Type="http://schemas.openxmlformats.org/officeDocument/2006/relationships/vmlDrawing" Target="../drawings/vmlDrawing21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6.bin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8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7.bin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2.emf"/><Relationship Id="rId2" Type="http://schemas.openxmlformats.org/officeDocument/2006/relationships/tags" Target="../tags/tag6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509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17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0.xml"/><Relationship Id="rId1" Type="http://schemas.openxmlformats.org/officeDocument/2006/relationships/vmlDrawing" Target="../drawings/vmlDrawing21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19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1.xml"/><Relationship Id="rId1" Type="http://schemas.openxmlformats.org/officeDocument/2006/relationships/vmlDrawing" Target="../drawings/vmlDrawing220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0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2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1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3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2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4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3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5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4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6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5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7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8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7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9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8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0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1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29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1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10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0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2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1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1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3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2.bin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4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3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5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4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6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18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5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7.xml"/><Relationship Id="rId1" Type="http://schemas.openxmlformats.org/officeDocument/2006/relationships/vmlDrawing" Target="../drawings/vmlDrawing236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5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8.xml"/><Relationship Id="rId1" Type="http://schemas.openxmlformats.org/officeDocument/2006/relationships/vmlDrawing" Target="../drawings/vmlDrawing237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7.bin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9.xml"/><Relationship Id="rId1" Type="http://schemas.openxmlformats.org/officeDocument/2006/relationships/vmlDrawing" Target="../drawings/vmlDrawing238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8.bin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3.xml"/><Relationship Id="rId7" Type="http://schemas.openxmlformats.org/officeDocument/2006/relationships/image" Target="../media/image3.tmp"/><Relationship Id="rId2" Type="http://schemas.openxmlformats.org/officeDocument/2006/relationships/tags" Target="../tags/tag532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0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5.png"/></Relationships>
</file>

<file path=ppt/slideLayouts/_rels/slideLayout2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35.xml"/><Relationship Id="rId7" Type="http://schemas.openxmlformats.org/officeDocument/2006/relationships/image" Target="../media/image2.emf"/><Relationship Id="rId2" Type="http://schemas.openxmlformats.org/officeDocument/2006/relationships/tags" Target="../tags/tag534.xml"/><Relationship Id="rId1" Type="http://schemas.openxmlformats.org/officeDocument/2006/relationships/vmlDrawing" Target="../drawings/vmlDrawing241.vml"/><Relationship Id="rId6" Type="http://schemas.openxmlformats.org/officeDocument/2006/relationships/oleObject" Target="../embeddings/oleObject24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36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tags" Target="../tags/tag538.xml"/><Relationship Id="rId7" Type="http://schemas.openxmlformats.org/officeDocument/2006/relationships/image" Target="../media/image2.emf"/><Relationship Id="rId2" Type="http://schemas.openxmlformats.org/officeDocument/2006/relationships/tags" Target="../tags/tag537.xml"/><Relationship Id="rId1" Type="http://schemas.openxmlformats.org/officeDocument/2006/relationships/vmlDrawing" Target="../drawings/vmlDrawing242.vml"/><Relationship Id="rId6" Type="http://schemas.openxmlformats.org/officeDocument/2006/relationships/oleObject" Target="../embeddings/oleObject24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39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541.xml"/><Relationship Id="rId7" Type="http://schemas.openxmlformats.org/officeDocument/2006/relationships/image" Target="../media/image2.emf"/><Relationship Id="rId2" Type="http://schemas.openxmlformats.org/officeDocument/2006/relationships/tags" Target="../tags/tag540.xml"/><Relationship Id="rId1" Type="http://schemas.openxmlformats.org/officeDocument/2006/relationships/vmlDrawing" Target="../drawings/vmlDrawing243.vml"/><Relationship Id="rId6" Type="http://schemas.openxmlformats.org/officeDocument/2006/relationships/oleObject" Target="../embeddings/oleObject24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42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44.vml"/><Relationship Id="rId1" Type="http://schemas.openxmlformats.org/officeDocument/2006/relationships/themeOverride" Target="../theme/themeOverride94.xml"/><Relationship Id="rId6" Type="http://schemas.openxmlformats.org/officeDocument/2006/relationships/oleObject" Target="../embeddings/oleObject24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44.xml"/></Relationships>
</file>

<file path=ppt/slideLayouts/_rels/slideLayout2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45.xml"/><Relationship Id="rId7" Type="http://schemas.openxmlformats.org/officeDocument/2006/relationships/oleObject" Target="../embeddings/oleObject245.bin"/><Relationship Id="rId2" Type="http://schemas.openxmlformats.org/officeDocument/2006/relationships/vmlDrawing" Target="../drawings/vmlDrawing245.vml"/><Relationship Id="rId1" Type="http://schemas.openxmlformats.org/officeDocument/2006/relationships/themeOverride" Target="../theme/themeOverride95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47.xml"/><Relationship Id="rId10" Type="http://schemas.openxmlformats.org/officeDocument/2006/relationships/image" Target="../media/image5.png"/><Relationship Id="rId4" Type="http://schemas.openxmlformats.org/officeDocument/2006/relationships/tags" Target="../tags/tag546.xml"/><Relationship Id="rId9" Type="http://schemas.openxmlformats.org/officeDocument/2006/relationships/image" Target="../media/image6.png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48.xml"/><Relationship Id="rId7" Type="http://schemas.openxmlformats.org/officeDocument/2006/relationships/oleObject" Target="../embeddings/oleObject246.bin"/><Relationship Id="rId2" Type="http://schemas.openxmlformats.org/officeDocument/2006/relationships/vmlDrawing" Target="../drawings/vmlDrawing246.vml"/><Relationship Id="rId1" Type="http://schemas.openxmlformats.org/officeDocument/2006/relationships/themeOverride" Target="../theme/themeOverride96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50.xml"/><Relationship Id="rId10" Type="http://schemas.openxmlformats.org/officeDocument/2006/relationships/image" Target="../media/image5.png"/><Relationship Id="rId4" Type="http://schemas.openxmlformats.org/officeDocument/2006/relationships/tags" Target="../tags/tag549.xml"/><Relationship Id="rId9" Type="http://schemas.openxmlformats.org/officeDocument/2006/relationships/image" Target="../media/image6.png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1.xml"/><Relationship Id="rId7" Type="http://schemas.openxmlformats.org/officeDocument/2006/relationships/oleObject" Target="../embeddings/oleObject247.bin"/><Relationship Id="rId2" Type="http://schemas.openxmlformats.org/officeDocument/2006/relationships/vmlDrawing" Target="../drawings/vmlDrawing247.vml"/><Relationship Id="rId1" Type="http://schemas.openxmlformats.org/officeDocument/2006/relationships/themeOverride" Target="../theme/themeOverride97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53.xml"/><Relationship Id="rId4" Type="http://schemas.openxmlformats.org/officeDocument/2006/relationships/tags" Target="../tags/tag552.xml"/><Relationship Id="rId9" Type="http://schemas.openxmlformats.org/officeDocument/2006/relationships/image" Target="../media/image6.png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4.xml"/><Relationship Id="rId7" Type="http://schemas.openxmlformats.org/officeDocument/2006/relationships/oleObject" Target="../embeddings/oleObject248.bin"/><Relationship Id="rId2" Type="http://schemas.openxmlformats.org/officeDocument/2006/relationships/vmlDrawing" Target="../drawings/vmlDrawing248.vml"/><Relationship Id="rId1" Type="http://schemas.openxmlformats.org/officeDocument/2006/relationships/themeOverride" Target="../theme/themeOverride98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56.xml"/><Relationship Id="rId4" Type="http://schemas.openxmlformats.org/officeDocument/2006/relationships/tags" Target="../tags/tag555.xml"/><Relationship Id="rId9" Type="http://schemas.openxmlformats.org/officeDocument/2006/relationships/image" Target="../media/image6.png"/></Relationships>
</file>

<file path=ppt/slideLayouts/_rels/slideLayout2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7.xml"/><Relationship Id="rId7" Type="http://schemas.openxmlformats.org/officeDocument/2006/relationships/oleObject" Target="../embeddings/oleObject249.bin"/><Relationship Id="rId2" Type="http://schemas.openxmlformats.org/officeDocument/2006/relationships/vmlDrawing" Target="../drawings/vmlDrawing249.vml"/><Relationship Id="rId1" Type="http://schemas.openxmlformats.org/officeDocument/2006/relationships/themeOverride" Target="../theme/themeOverride9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59.xml"/><Relationship Id="rId4" Type="http://schemas.openxmlformats.org/officeDocument/2006/relationships/tags" Target="../tags/tag558.xml"/><Relationship Id="rId9" Type="http://schemas.openxmlformats.org/officeDocument/2006/relationships/image" Target="../media/image6.png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60.xml"/><Relationship Id="rId7" Type="http://schemas.openxmlformats.org/officeDocument/2006/relationships/oleObject" Target="../embeddings/oleObject250.bin"/><Relationship Id="rId2" Type="http://schemas.openxmlformats.org/officeDocument/2006/relationships/vmlDrawing" Target="../drawings/vmlDrawing250.vml"/><Relationship Id="rId1" Type="http://schemas.openxmlformats.org/officeDocument/2006/relationships/themeOverride" Target="../theme/themeOverride10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62.xml"/><Relationship Id="rId10" Type="http://schemas.openxmlformats.org/officeDocument/2006/relationships/image" Target="../media/image5.png"/><Relationship Id="rId4" Type="http://schemas.openxmlformats.org/officeDocument/2006/relationships/tags" Target="../tags/tag561.xml"/><Relationship Id="rId9" Type="http://schemas.openxmlformats.org/officeDocument/2006/relationships/image" Target="../media/image7.png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64.xml"/><Relationship Id="rId7" Type="http://schemas.openxmlformats.org/officeDocument/2006/relationships/image" Target="../media/image2.emf"/><Relationship Id="rId2" Type="http://schemas.openxmlformats.org/officeDocument/2006/relationships/tags" Target="../tags/tag563.xml"/><Relationship Id="rId1" Type="http://schemas.openxmlformats.org/officeDocument/2006/relationships/vmlDrawing" Target="../drawings/vmlDrawing251.vml"/><Relationship Id="rId6" Type="http://schemas.openxmlformats.org/officeDocument/2006/relationships/oleObject" Target="../embeddings/oleObject25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65.xml"/><Relationship Id="rId9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566.xml"/><Relationship Id="rId7" Type="http://schemas.openxmlformats.org/officeDocument/2006/relationships/oleObject" Target="../embeddings/oleObject252.bin"/><Relationship Id="rId2" Type="http://schemas.openxmlformats.org/officeDocument/2006/relationships/vmlDrawing" Target="../drawings/vmlDrawing252.vml"/><Relationship Id="rId1" Type="http://schemas.openxmlformats.org/officeDocument/2006/relationships/themeOverride" Target="../theme/themeOverride101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68.xml"/><Relationship Id="rId10" Type="http://schemas.openxmlformats.org/officeDocument/2006/relationships/image" Target="../media/image5.png"/><Relationship Id="rId4" Type="http://schemas.openxmlformats.org/officeDocument/2006/relationships/tags" Target="../tags/tag567.xml"/><Relationship Id="rId9" Type="http://schemas.openxmlformats.org/officeDocument/2006/relationships/image" Target="../media/image10.png"/></Relationships>
</file>

<file path=ppt/slideLayouts/_rels/slideLayout2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70.xml"/><Relationship Id="rId7" Type="http://schemas.openxmlformats.org/officeDocument/2006/relationships/image" Target="../media/image2.emf"/><Relationship Id="rId2" Type="http://schemas.openxmlformats.org/officeDocument/2006/relationships/tags" Target="../tags/tag569.xml"/><Relationship Id="rId1" Type="http://schemas.openxmlformats.org/officeDocument/2006/relationships/vmlDrawing" Target="../drawings/vmlDrawing253.vml"/><Relationship Id="rId6" Type="http://schemas.openxmlformats.org/officeDocument/2006/relationships/oleObject" Target="../embeddings/oleObject25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71.xml"/></Relationships>
</file>

<file path=ppt/slideLayouts/_rels/slideLayout2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72.xml"/><Relationship Id="rId7" Type="http://schemas.openxmlformats.org/officeDocument/2006/relationships/oleObject" Target="../embeddings/oleObject254.bin"/><Relationship Id="rId2" Type="http://schemas.openxmlformats.org/officeDocument/2006/relationships/vmlDrawing" Target="../drawings/vmlDrawing254.vml"/><Relationship Id="rId1" Type="http://schemas.openxmlformats.org/officeDocument/2006/relationships/themeOverride" Target="../theme/themeOverride102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74.xml"/><Relationship Id="rId10" Type="http://schemas.openxmlformats.org/officeDocument/2006/relationships/image" Target="../media/image5.png"/><Relationship Id="rId4" Type="http://schemas.openxmlformats.org/officeDocument/2006/relationships/tags" Target="../tags/tag573.xml"/><Relationship Id="rId9" Type="http://schemas.openxmlformats.org/officeDocument/2006/relationships/image" Target="../media/image7.png"/></Relationships>
</file>

<file path=ppt/slideLayouts/_rels/slideLayout2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76.xml"/><Relationship Id="rId7" Type="http://schemas.openxmlformats.org/officeDocument/2006/relationships/image" Target="../media/image2.emf"/><Relationship Id="rId2" Type="http://schemas.openxmlformats.org/officeDocument/2006/relationships/tags" Target="../tags/tag575.xml"/><Relationship Id="rId1" Type="http://schemas.openxmlformats.org/officeDocument/2006/relationships/vmlDrawing" Target="../drawings/vmlDrawing255.vml"/><Relationship Id="rId6" Type="http://schemas.openxmlformats.org/officeDocument/2006/relationships/oleObject" Target="../embeddings/oleObject25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77.xml"/></Relationships>
</file>

<file path=ppt/slideLayouts/_rels/slideLayout2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78.xml"/><Relationship Id="rId7" Type="http://schemas.openxmlformats.org/officeDocument/2006/relationships/oleObject" Target="../embeddings/oleObject256.bin"/><Relationship Id="rId2" Type="http://schemas.openxmlformats.org/officeDocument/2006/relationships/vmlDrawing" Target="../drawings/vmlDrawing256.vml"/><Relationship Id="rId1" Type="http://schemas.openxmlformats.org/officeDocument/2006/relationships/themeOverride" Target="../theme/themeOverride103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80.xml"/><Relationship Id="rId10" Type="http://schemas.openxmlformats.org/officeDocument/2006/relationships/image" Target="../media/image5.png"/><Relationship Id="rId4" Type="http://schemas.openxmlformats.org/officeDocument/2006/relationships/tags" Target="../tags/tag579.xml"/><Relationship Id="rId9" Type="http://schemas.openxmlformats.org/officeDocument/2006/relationships/image" Target="../media/image7.png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82.xml"/><Relationship Id="rId7" Type="http://schemas.openxmlformats.org/officeDocument/2006/relationships/image" Target="../media/image2.emf"/><Relationship Id="rId2" Type="http://schemas.openxmlformats.org/officeDocument/2006/relationships/tags" Target="../tags/tag581.xml"/><Relationship Id="rId1" Type="http://schemas.openxmlformats.org/officeDocument/2006/relationships/vmlDrawing" Target="../drawings/vmlDrawing257.vml"/><Relationship Id="rId6" Type="http://schemas.openxmlformats.org/officeDocument/2006/relationships/oleObject" Target="../embeddings/oleObject25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83.xml"/></Relationships>
</file>

<file path=ppt/slideLayouts/_rels/slideLayout2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84.xml"/><Relationship Id="rId7" Type="http://schemas.openxmlformats.org/officeDocument/2006/relationships/oleObject" Target="../embeddings/oleObject258.bin"/><Relationship Id="rId2" Type="http://schemas.openxmlformats.org/officeDocument/2006/relationships/vmlDrawing" Target="../drawings/vmlDrawing258.vml"/><Relationship Id="rId1" Type="http://schemas.openxmlformats.org/officeDocument/2006/relationships/themeOverride" Target="../theme/themeOverride10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86.xml"/><Relationship Id="rId4" Type="http://schemas.openxmlformats.org/officeDocument/2006/relationships/tags" Target="../tags/tag58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588.xml"/><Relationship Id="rId7" Type="http://schemas.openxmlformats.org/officeDocument/2006/relationships/image" Target="../media/image2.emf"/><Relationship Id="rId2" Type="http://schemas.openxmlformats.org/officeDocument/2006/relationships/tags" Target="../tags/tag587.xml"/><Relationship Id="rId1" Type="http://schemas.openxmlformats.org/officeDocument/2006/relationships/vmlDrawing" Target="../drawings/vmlDrawing259.vml"/><Relationship Id="rId6" Type="http://schemas.openxmlformats.org/officeDocument/2006/relationships/oleObject" Target="../embeddings/oleObject25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89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0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60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7" Type="http://schemas.openxmlformats.org/officeDocument/2006/relationships/image" Target="../media/image2.emf"/><Relationship Id="rId2" Type="http://schemas.openxmlformats.org/officeDocument/2006/relationships/tags" Target="../tags/tag591.xml"/><Relationship Id="rId1" Type="http://schemas.openxmlformats.org/officeDocument/2006/relationships/vmlDrawing" Target="../drawings/vmlDrawing261.vml"/><Relationship Id="rId6" Type="http://schemas.openxmlformats.org/officeDocument/2006/relationships/oleObject" Target="../embeddings/oleObject26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9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6.xml"/><Relationship Id="rId7" Type="http://schemas.openxmlformats.org/officeDocument/2006/relationships/image" Target="../media/image3.tmp"/><Relationship Id="rId2" Type="http://schemas.openxmlformats.org/officeDocument/2006/relationships/tags" Target="../tags/tag7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tags" Target="../tags/tag595.xml"/><Relationship Id="rId2" Type="http://schemas.openxmlformats.org/officeDocument/2006/relationships/tags" Target="../tags/tag594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2.bin"/><Relationship Id="rId4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59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63.vml"/><Relationship Id="rId1" Type="http://schemas.openxmlformats.org/officeDocument/2006/relationships/themeOverride" Target="../theme/themeOverride105.xml"/><Relationship Id="rId6" Type="http://schemas.openxmlformats.org/officeDocument/2006/relationships/oleObject" Target="../embeddings/oleObject26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97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599.xml"/><Relationship Id="rId2" Type="http://schemas.openxmlformats.org/officeDocument/2006/relationships/tags" Target="../tags/tag598.xml"/><Relationship Id="rId1" Type="http://schemas.openxmlformats.org/officeDocument/2006/relationships/vmlDrawing" Target="../drawings/vmlDrawing2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4.bin"/><Relationship Id="rId4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600.xml"/><Relationship Id="rId1" Type="http://schemas.openxmlformats.org/officeDocument/2006/relationships/vmlDrawing" Target="../drawings/vmlDrawing265.vml"/><Relationship Id="rId6" Type="http://schemas.openxmlformats.org/officeDocument/2006/relationships/image" Target="../media/image3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5.bin"/></Relationships>
</file>

<file path=ppt/slideLayouts/_rels/slideLayout2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02.xml"/><Relationship Id="rId7" Type="http://schemas.openxmlformats.org/officeDocument/2006/relationships/image" Target="../media/image3.tmp"/><Relationship Id="rId2" Type="http://schemas.openxmlformats.org/officeDocument/2006/relationships/tags" Target="../tags/tag601.xml"/><Relationship Id="rId1" Type="http://schemas.openxmlformats.org/officeDocument/2006/relationships/vmlDrawing" Target="../drawings/vmlDrawing26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6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5.png"/></Relationships>
</file>

<file path=ppt/slideLayouts/_rels/slideLayout2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04.xml"/><Relationship Id="rId7" Type="http://schemas.openxmlformats.org/officeDocument/2006/relationships/image" Target="../media/image2.emf"/><Relationship Id="rId2" Type="http://schemas.openxmlformats.org/officeDocument/2006/relationships/tags" Target="../tags/tag603.xml"/><Relationship Id="rId1" Type="http://schemas.openxmlformats.org/officeDocument/2006/relationships/vmlDrawing" Target="../drawings/vmlDrawing267.vml"/><Relationship Id="rId6" Type="http://schemas.openxmlformats.org/officeDocument/2006/relationships/oleObject" Target="../embeddings/oleObject26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05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tags" Target="../tags/tag607.xml"/><Relationship Id="rId7" Type="http://schemas.openxmlformats.org/officeDocument/2006/relationships/image" Target="../media/image2.emf"/><Relationship Id="rId2" Type="http://schemas.openxmlformats.org/officeDocument/2006/relationships/tags" Target="../tags/tag606.xml"/><Relationship Id="rId1" Type="http://schemas.openxmlformats.org/officeDocument/2006/relationships/vmlDrawing" Target="../drawings/vmlDrawing268.vml"/><Relationship Id="rId6" Type="http://schemas.openxmlformats.org/officeDocument/2006/relationships/oleObject" Target="../embeddings/oleObject26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08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tags" Target="../tags/tag610.xml"/><Relationship Id="rId7" Type="http://schemas.openxmlformats.org/officeDocument/2006/relationships/image" Target="../media/image2.emf"/><Relationship Id="rId2" Type="http://schemas.openxmlformats.org/officeDocument/2006/relationships/tags" Target="../tags/tag609.xml"/><Relationship Id="rId1" Type="http://schemas.openxmlformats.org/officeDocument/2006/relationships/vmlDrawing" Target="../drawings/vmlDrawing269.vml"/><Relationship Id="rId6" Type="http://schemas.openxmlformats.org/officeDocument/2006/relationships/oleObject" Target="../embeddings/oleObject26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1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tags" Target="../tags/tag613.xml"/><Relationship Id="rId2" Type="http://schemas.openxmlformats.org/officeDocument/2006/relationships/tags" Target="../tags/tag612.xml"/><Relationship Id="rId1" Type="http://schemas.openxmlformats.org/officeDocument/2006/relationships/vmlDrawing" Target="../drawings/vmlDrawing2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0.bin"/><Relationship Id="rId4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14.xml"/><Relationship Id="rId7" Type="http://schemas.openxmlformats.org/officeDocument/2006/relationships/oleObject" Target="../embeddings/oleObject271.bin"/><Relationship Id="rId2" Type="http://schemas.openxmlformats.org/officeDocument/2006/relationships/vmlDrawing" Target="../drawings/vmlDrawing271.vml"/><Relationship Id="rId1" Type="http://schemas.openxmlformats.org/officeDocument/2006/relationships/themeOverride" Target="../theme/themeOverride106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16.xml"/><Relationship Id="rId10" Type="http://schemas.openxmlformats.org/officeDocument/2006/relationships/image" Target="../media/image5.png"/><Relationship Id="rId4" Type="http://schemas.openxmlformats.org/officeDocument/2006/relationships/tags" Target="../tags/tag615.xml"/><Relationship Id="rId9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8.xml"/><Relationship Id="rId7" Type="http://schemas.openxmlformats.org/officeDocument/2006/relationships/image" Target="../media/image2.emf"/><Relationship Id="rId2" Type="http://schemas.openxmlformats.org/officeDocument/2006/relationships/tags" Target="../tags/tag77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9.xml"/></Relationships>
</file>

<file path=ppt/slideLayouts/_rels/slideLayout2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17.xml"/><Relationship Id="rId7" Type="http://schemas.openxmlformats.org/officeDocument/2006/relationships/oleObject" Target="../embeddings/oleObject272.bin"/><Relationship Id="rId2" Type="http://schemas.openxmlformats.org/officeDocument/2006/relationships/vmlDrawing" Target="../drawings/vmlDrawing272.vml"/><Relationship Id="rId1" Type="http://schemas.openxmlformats.org/officeDocument/2006/relationships/themeOverride" Target="../theme/themeOverride107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19.xml"/><Relationship Id="rId10" Type="http://schemas.openxmlformats.org/officeDocument/2006/relationships/image" Target="../media/image5.png"/><Relationship Id="rId4" Type="http://schemas.openxmlformats.org/officeDocument/2006/relationships/tags" Target="../tags/tag618.xml"/><Relationship Id="rId9" Type="http://schemas.openxmlformats.org/officeDocument/2006/relationships/image" Target="../media/image6.png"/></Relationships>
</file>

<file path=ppt/slideLayouts/_rels/slideLayout2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0.xml"/><Relationship Id="rId7" Type="http://schemas.openxmlformats.org/officeDocument/2006/relationships/oleObject" Target="../embeddings/oleObject273.bin"/><Relationship Id="rId2" Type="http://schemas.openxmlformats.org/officeDocument/2006/relationships/vmlDrawing" Target="../drawings/vmlDrawing273.vml"/><Relationship Id="rId1" Type="http://schemas.openxmlformats.org/officeDocument/2006/relationships/themeOverride" Target="../theme/themeOverride108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22.xml"/><Relationship Id="rId10" Type="http://schemas.openxmlformats.org/officeDocument/2006/relationships/image" Target="../media/image5.png"/><Relationship Id="rId4" Type="http://schemas.openxmlformats.org/officeDocument/2006/relationships/tags" Target="../tags/tag621.xml"/><Relationship Id="rId9" Type="http://schemas.openxmlformats.org/officeDocument/2006/relationships/image" Target="../media/image6.png"/></Relationships>
</file>

<file path=ppt/slideLayouts/_rels/slideLayout2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3.xml"/><Relationship Id="rId7" Type="http://schemas.openxmlformats.org/officeDocument/2006/relationships/oleObject" Target="../embeddings/oleObject274.bin"/><Relationship Id="rId2" Type="http://schemas.openxmlformats.org/officeDocument/2006/relationships/vmlDrawing" Target="../drawings/vmlDrawing274.vml"/><Relationship Id="rId1" Type="http://schemas.openxmlformats.org/officeDocument/2006/relationships/themeOverride" Target="../theme/themeOverride109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25.xml"/><Relationship Id="rId4" Type="http://schemas.openxmlformats.org/officeDocument/2006/relationships/tags" Target="../tags/tag624.xml"/><Relationship Id="rId9" Type="http://schemas.openxmlformats.org/officeDocument/2006/relationships/image" Target="../media/image6.png"/></Relationships>
</file>

<file path=ppt/slideLayouts/_rels/slideLayout2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6.xml"/><Relationship Id="rId7" Type="http://schemas.openxmlformats.org/officeDocument/2006/relationships/oleObject" Target="../embeddings/oleObject275.bin"/><Relationship Id="rId2" Type="http://schemas.openxmlformats.org/officeDocument/2006/relationships/vmlDrawing" Target="../drawings/vmlDrawing275.vml"/><Relationship Id="rId1" Type="http://schemas.openxmlformats.org/officeDocument/2006/relationships/themeOverride" Target="../theme/themeOverride110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28.xml"/><Relationship Id="rId4" Type="http://schemas.openxmlformats.org/officeDocument/2006/relationships/tags" Target="../tags/tag627.xml"/><Relationship Id="rId9" Type="http://schemas.openxmlformats.org/officeDocument/2006/relationships/image" Target="../media/image6.png"/></Relationships>
</file>

<file path=ppt/slideLayouts/_rels/slideLayout2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9.xml"/><Relationship Id="rId7" Type="http://schemas.openxmlformats.org/officeDocument/2006/relationships/oleObject" Target="../embeddings/oleObject276.bin"/><Relationship Id="rId2" Type="http://schemas.openxmlformats.org/officeDocument/2006/relationships/vmlDrawing" Target="../drawings/vmlDrawing276.vml"/><Relationship Id="rId1" Type="http://schemas.openxmlformats.org/officeDocument/2006/relationships/themeOverride" Target="../theme/themeOverride111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31.xml"/><Relationship Id="rId4" Type="http://schemas.openxmlformats.org/officeDocument/2006/relationships/tags" Target="../tags/tag630.xml"/><Relationship Id="rId9" Type="http://schemas.openxmlformats.org/officeDocument/2006/relationships/image" Target="../media/image6.png"/></Relationships>
</file>

<file path=ppt/slideLayouts/_rels/slideLayout2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632.xml"/><Relationship Id="rId7" Type="http://schemas.openxmlformats.org/officeDocument/2006/relationships/oleObject" Target="../embeddings/oleObject277.bin"/><Relationship Id="rId2" Type="http://schemas.openxmlformats.org/officeDocument/2006/relationships/vmlDrawing" Target="../drawings/vmlDrawing277.vml"/><Relationship Id="rId1" Type="http://schemas.openxmlformats.org/officeDocument/2006/relationships/themeOverride" Target="../theme/themeOverride112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34.xml"/><Relationship Id="rId4" Type="http://schemas.openxmlformats.org/officeDocument/2006/relationships/tags" Target="../tags/tag633.xml"/><Relationship Id="rId9" Type="http://schemas.openxmlformats.org/officeDocument/2006/relationships/image" Target="../media/image7.png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36.xml"/><Relationship Id="rId7" Type="http://schemas.openxmlformats.org/officeDocument/2006/relationships/image" Target="../media/image2.emf"/><Relationship Id="rId2" Type="http://schemas.openxmlformats.org/officeDocument/2006/relationships/tags" Target="../tags/tag635.xml"/><Relationship Id="rId1" Type="http://schemas.openxmlformats.org/officeDocument/2006/relationships/vmlDrawing" Target="../drawings/vmlDrawing278.vml"/><Relationship Id="rId6" Type="http://schemas.openxmlformats.org/officeDocument/2006/relationships/oleObject" Target="../embeddings/oleObject27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37.xml"/></Relationships>
</file>

<file path=ppt/slideLayouts/_rels/slideLayout2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38.xml"/><Relationship Id="rId7" Type="http://schemas.openxmlformats.org/officeDocument/2006/relationships/oleObject" Target="../embeddings/oleObject279.bin"/><Relationship Id="rId2" Type="http://schemas.openxmlformats.org/officeDocument/2006/relationships/vmlDrawing" Target="../drawings/vmlDrawing279.vml"/><Relationship Id="rId1" Type="http://schemas.openxmlformats.org/officeDocument/2006/relationships/themeOverride" Target="../theme/themeOverride113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40.xml"/><Relationship Id="rId4" Type="http://schemas.openxmlformats.org/officeDocument/2006/relationships/tags" Target="../tags/tag639.xml"/><Relationship Id="rId9" Type="http://schemas.openxmlformats.org/officeDocument/2006/relationships/image" Target="../media/image10.png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42.xml"/><Relationship Id="rId7" Type="http://schemas.openxmlformats.org/officeDocument/2006/relationships/image" Target="../media/image2.emf"/><Relationship Id="rId2" Type="http://schemas.openxmlformats.org/officeDocument/2006/relationships/tags" Target="../tags/tag641.xml"/><Relationship Id="rId1" Type="http://schemas.openxmlformats.org/officeDocument/2006/relationships/vmlDrawing" Target="../drawings/vmlDrawing280.vml"/><Relationship Id="rId6" Type="http://schemas.openxmlformats.org/officeDocument/2006/relationships/oleObject" Target="../embeddings/oleObject28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43.xml"/></Relationships>
</file>

<file path=ppt/slideLayouts/_rels/slideLayout2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44.xml"/><Relationship Id="rId7" Type="http://schemas.openxmlformats.org/officeDocument/2006/relationships/oleObject" Target="../embeddings/oleObject281.bin"/><Relationship Id="rId2" Type="http://schemas.openxmlformats.org/officeDocument/2006/relationships/vmlDrawing" Target="../drawings/vmlDrawing281.vml"/><Relationship Id="rId1" Type="http://schemas.openxmlformats.org/officeDocument/2006/relationships/themeOverride" Target="../theme/themeOverride11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46.xml"/><Relationship Id="rId4" Type="http://schemas.openxmlformats.org/officeDocument/2006/relationships/tags" Target="../tags/tag645.xml"/><Relationship Id="rId9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2.emf"/><Relationship Id="rId2" Type="http://schemas.openxmlformats.org/officeDocument/2006/relationships/tags" Target="../tags/tag80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48.xml"/><Relationship Id="rId7" Type="http://schemas.openxmlformats.org/officeDocument/2006/relationships/image" Target="../media/image2.emf"/><Relationship Id="rId2" Type="http://schemas.openxmlformats.org/officeDocument/2006/relationships/tags" Target="../tags/tag647.xml"/><Relationship Id="rId1" Type="http://schemas.openxmlformats.org/officeDocument/2006/relationships/vmlDrawing" Target="../drawings/vmlDrawing282.vml"/><Relationship Id="rId6" Type="http://schemas.openxmlformats.org/officeDocument/2006/relationships/oleObject" Target="../embeddings/oleObject28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49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50.xml"/><Relationship Id="rId7" Type="http://schemas.openxmlformats.org/officeDocument/2006/relationships/oleObject" Target="../embeddings/oleObject283.bin"/><Relationship Id="rId2" Type="http://schemas.openxmlformats.org/officeDocument/2006/relationships/vmlDrawing" Target="../drawings/vmlDrawing283.vml"/><Relationship Id="rId1" Type="http://schemas.openxmlformats.org/officeDocument/2006/relationships/themeOverride" Target="../theme/themeOverride115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52.xml"/><Relationship Id="rId4" Type="http://schemas.openxmlformats.org/officeDocument/2006/relationships/tags" Target="../tags/tag651.xml"/><Relationship Id="rId9" Type="http://schemas.openxmlformats.org/officeDocument/2006/relationships/image" Target="../media/image7.png"/></Relationships>
</file>

<file path=ppt/slideLayouts/_rels/slideLayout3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54.xml"/><Relationship Id="rId7" Type="http://schemas.openxmlformats.org/officeDocument/2006/relationships/image" Target="../media/image2.emf"/><Relationship Id="rId2" Type="http://schemas.openxmlformats.org/officeDocument/2006/relationships/tags" Target="../tags/tag653.xml"/><Relationship Id="rId1" Type="http://schemas.openxmlformats.org/officeDocument/2006/relationships/vmlDrawing" Target="../drawings/vmlDrawing284.vml"/><Relationship Id="rId6" Type="http://schemas.openxmlformats.org/officeDocument/2006/relationships/oleObject" Target="../embeddings/oleObject28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55.xml"/></Relationships>
</file>

<file path=ppt/slideLayouts/_rels/slideLayout3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56.xml"/><Relationship Id="rId7" Type="http://schemas.openxmlformats.org/officeDocument/2006/relationships/oleObject" Target="../embeddings/oleObject285.bin"/><Relationship Id="rId2" Type="http://schemas.openxmlformats.org/officeDocument/2006/relationships/vmlDrawing" Target="../drawings/vmlDrawing285.vml"/><Relationship Id="rId1" Type="http://schemas.openxmlformats.org/officeDocument/2006/relationships/themeOverride" Target="../theme/themeOverride116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58.xml"/><Relationship Id="rId4" Type="http://schemas.openxmlformats.org/officeDocument/2006/relationships/tags" Target="../tags/tag657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660.xml"/><Relationship Id="rId7" Type="http://schemas.openxmlformats.org/officeDocument/2006/relationships/image" Target="../media/image2.emf"/><Relationship Id="rId2" Type="http://schemas.openxmlformats.org/officeDocument/2006/relationships/tags" Target="../tags/tag659.xml"/><Relationship Id="rId1" Type="http://schemas.openxmlformats.org/officeDocument/2006/relationships/vmlDrawing" Target="../drawings/vmlDrawing286.vml"/><Relationship Id="rId6" Type="http://schemas.openxmlformats.org/officeDocument/2006/relationships/oleObject" Target="../embeddings/oleObject28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61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2.xml"/><Relationship Id="rId1" Type="http://schemas.openxmlformats.org/officeDocument/2006/relationships/vmlDrawing" Target="../drawings/vmlDrawing287.vml"/><Relationship Id="rId6" Type="http://schemas.openxmlformats.org/officeDocument/2006/relationships/image" Target="../media/image1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7.bin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tags" Target="../tags/tag664.xml"/><Relationship Id="rId7" Type="http://schemas.openxmlformats.org/officeDocument/2006/relationships/image" Target="../media/image2.emf"/><Relationship Id="rId2" Type="http://schemas.openxmlformats.org/officeDocument/2006/relationships/tags" Target="../tags/tag663.xml"/><Relationship Id="rId1" Type="http://schemas.openxmlformats.org/officeDocument/2006/relationships/vmlDrawing" Target="../drawings/vmlDrawing288.vml"/><Relationship Id="rId6" Type="http://schemas.openxmlformats.org/officeDocument/2006/relationships/oleObject" Target="../embeddings/oleObject28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65.xml"/></Relationships>
</file>

<file path=ppt/slideLayouts/_rels/slideLayout3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6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89.vml"/><Relationship Id="rId1" Type="http://schemas.openxmlformats.org/officeDocument/2006/relationships/themeOverride" Target="../theme/themeOverride117.xml"/><Relationship Id="rId6" Type="http://schemas.openxmlformats.org/officeDocument/2006/relationships/oleObject" Target="../embeddings/oleObject28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67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tags" Target="../tags/tag66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90.vml"/><Relationship Id="rId1" Type="http://schemas.openxmlformats.org/officeDocument/2006/relationships/themeOverride" Target="../theme/themeOverride118.xml"/><Relationship Id="rId6" Type="http://schemas.openxmlformats.org/officeDocument/2006/relationships/oleObject" Target="../embeddings/oleObject29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69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tags" Target="../tags/tag671.xml"/><Relationship Id="rId2" Type="http://schemas.openxmlformats.org/officeDocument/2006/relationships/tags" Target="../tags/tag670.xml"/><Relationship Id="rId1" Type="http://schemas.openxmlformats.org/officeDocument/2006/relationships/vmlDrawing" Target="../drawings/vmlDrawing2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1.bin"/><Relationship Id="rId4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2.emf"/><Relationship Id="rId2" Type="http://schemas.openxmlformats.org/officeDocument/2006/relationships/tags" Target="../tags/tag8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tags" Target="../tags/tag673.xml"/><Relationship Id="rId2" Type="http://schemas.openxmlformats.org/officeDocument/2006/relationships/tags" Target="../tags/tag672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2.bin"/><Relationship Id="rId4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674.xml"/><Relationship Id="rId1" Type="http://schemas.openxmlformats.org/officeDocument/2006/relationships/vmlDrawing" Target="../drawings/vmlDrawing293.vml"/><Relationship Id="rId6" Type="http://schemas.openxmlformats.org/officeDocument/2006/relationships/image" Target="../media/image3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3.bin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67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94.vml"/><Relationship Id="rId1" Type="http://schemas.openxmlformats.org/officeDocument/2006/relationships/themeOverride" Target="../theme/themeOverride119.xml"/><Relationship Id="rId6" Type="http://schemas.openxmlformats.org/officeDocument/2006/relationships/oleObject" Target="../embeddings/oleObject29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76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tags" Target="../tags/tag677.xml"/><Relationship Id="rId2" Type="http://schemas.openxmlformats.org/officeDocument/2006/relationships/vmlDrawing" Target="../drawings/vmlDrawing295.vml"/><Relationship Id="rId1" Type="http://schemas.openxmlformats.org/officeDocument/2006/relationships/themeOverride" Target="../theme/themeOverride1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5.bin"/><Relationship Id="rId4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tags" Target="../tags/tag678.xml"/><Relationship Id="rId2" Type="http://schemas.openxmlformats.org/officeDocument/2006/relationships/vmlDrawing" Target="../drawings/vmlDrawing296.vml"/><Relationship Id="rId1" Type="http://schemas.openxmlformats.org/officeDocument/2006/relationships/themeOverride" Target="../theme/themeOverride1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6.bin"/><Relationship Id="rId4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79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297.vml"/><Relationship Id="rId1" Type="http://schemas.openxmlformats.org/officeDocument/2006/relationships/themeOverride" Target="../theme/themeOverride122.xml"/><Relationship Id="rId6" Type="http://schemas.openxmlformats.org/officeDocument/2006/relationships/oleObject" Target="../embeddings/oleObject29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80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tags" Target="../tags/tag682.xml"/><Relationship Id="rId2" Type="http://schemas.openxmlformats.org/officeDocument/2006/relationships/tags" Target="../tags/tag681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8.bin"/><Relationship Id="rId4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3.xml"/><Relationship Id="rId1" Type="http://schemas.openxmlformats.org/officeDocument/2006/relationships/vmlDrawing" Target="../drawings/vmlDrawing2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9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4.xml"/><Relationship Id="rId1" Type="http://schemas.openxmlformats.org/officeDocument/2006/relationships/vmlDrawing" Target="../drawings/vmlDrawing3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0.bin"/></Relationships>
</file>

<file path=ppt/slideLayouts/_rels/slideLayout3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8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301.vml"/><Relationship Id="rId1" Type="http://schemas.openxmlformats.org/officeDocument/2006/relationships/themeOverride" Target="../theme/themeOverride123.xml"/><Relationship Id="rId6" Type="http://schemas.openxmlformats.org/officeDocument/2006/relationships/oleObject" Target="../embeddings/oleObject30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8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tags" Target="../tags/tag687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302.vml"/><Relationship Id="rId1" Type="http://schemas.openxmlformats.org/officeDocument/2006/relationships/themeOverride" Target="../theme/themeOverride1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2.bin"/><Relationship Id="rId4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88.xml"/><Relationship Id="rId1" Type="http://schemas.openxmlformats.org/officeDocument/2006/relationships/vmlDrawing" Target="../drawings/vmlDrawing303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03.bin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tags" Target="../tags/tag690.xml"/><Relationship Id="rId2" Type="http://schemas.openxmlformats.org/officeDocument/2006/relationships/tags" Target="../tags/tag689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304.bin"/><Relationship Id="rId4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8.xml"/><Relationship Id="rId7" Type="http://schemas.openxmlformats.org/officeDocument/2006/relationships/oleObject" Target="../embeddings/oleObject34.bin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1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0.xml"/><Relationship Id="rId10" Type="http://schemas.openxmlformats.org/officeDocument/2006/relationships/image" Target="../media/image5.png"/><Relationship Id="rId4" Type="http://schemas.openxmlformats.org/officeDocument/2006/relationships/tags" Target="../tags/tag89.xml"/><Relationship Id="rId9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1.xml"/><Relationship Id="rId7" Type="http://schemas.openxmlformats.org/officeDocument/2006/relationships/oleObject" Target="../embeddings/oleObject35.bin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3.xml"/><Relationship Id="rId10" Type="http://schemas.openxmlformats.org/officeDocument/2006/relationships/image" Target="../media/image5.png"/><Relationship Id="rId4" Type="http://schemas.openxmlformats.org/officeDocument/2006/relationships/tags" Target="../tags/tag92.xml"/><Relationship Id="rId9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4.xml"/><Relationship Id="rId7" Type="http://schemas.openxmlformats.org/officeDocument/2006/relationships/oleObject" Target="../embeddings/oleObject36.bin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10" Type="http://schemas.openxmlformats.org/officeDocument/2006/relationships/image" Target="../media/image5.png"/><Relationship Id="rId4" Type="http://schemas.openxmlformats.org/officeDocument/2006/relationships/tags" Target="../tags/tag95.xml"/><Relationship Id="rId9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7.xml"/><Relationship Id="rId7" Type="http://schemas.openxmlformats.org/officeDocument/2006/relationships/oleObject" Target="../embeddings/oleObject37.bin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1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9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0.xml"/><Relationship Id="rId7" Type="http://schemas.openxmlformats.org/officeDocument/2006/relationships/oleObject" Target="../embeddings/oleObject38.bin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2.xml"/><Relationship Id="rId4" Type="http://schemas.openxmlformats.org/officeDocument/2006/relationships/tags" Target="../tags/tag101.xml"/><Relationship Id="rId9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3.xml"/><Relationship Id="rId7" Type="http://schemas.openxmlformats.org/officeDocument/2006/relationships/oleObject" Target="../embeddings/oleObject39.bin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9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06.xml"/><Relationship Id="rId7" Type="http://schemas.openxmlformats.org/officeDocument/2006/relationships/oleObject" Target="../embeddings/oleObject40.bin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1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0.xml"/><Relationship Id="rId7" Type="http://schemas.openxmlformats.org/officeDocument/2006/relationships/image" Target="../media/image2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2.xml"/><Relationship Id="rId7" Type="http://schemas.openxmlformats.org/officeDocument/2006/relationships/oleObject" Target="../embeddings/oleObject42.bin"/><Relationship Id="rId2" Type="http://schemas.openxmlformats.org/officeDocument/2006/relationships/vmlDrawing" Target="../drawings/vmlDrawing42.vml"/><Relationship Id="rId1" Type="http://schemas.openxmlformats.org/officeDocument/2006/relationships/themeOverride" Target="../theme/themeOverride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6.xml"/><Relationship Id="rId7" Type="http://schemas.openxmlformats.org/officeDocument/2006/relationships/image" Target="../media/image2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7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8.xml"/><Relationship Id="rId7" Type="http://schemas.openxmlformats.org/officeDocument/2006/relationships/oleObject" Target="../embeddings/oleObject44.bin"/><Relationship Id="rId2" Type="http://schemas.openxmlformats.org/officeDocument/2006/relationships/vmlDrawing" Target="../drawings/vmlDrawing44.vml"/><Relationship Id="rId1" Type="http://schemas.openxmlformats.org/officeDocument/2006/relationships/themeOverride" Target="../theme/themeOverride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9" Type="http://schemas.openxmlformats.org/officeDocument/2006/relationships/image" Target="../media/image7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2.xml"/><Relationship Id="rId7" Type="http://schemas.openxmlformats.org/officeDocument/2006/relationships/image" Target="../media/image2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3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24.xml"/><Relationship Id="rId7" Type="http://schemas.openxmlformats.org/officeDocument/2006/relationships/oleObject" Target="../embeddings/oleObject46.bin"/><Relationship Id="rId2" Type="http://schemas.openxmlformats.org/officeDocument/2006/relationships/vmlDrawing" Target="../drawings/vmlDrawing46.vml"/><Relationship Id="rId1" Type="http://schemas.openxmlformats.org/officeDocument/2006/relationships/themeOverride" Target="../theme/themeOverride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6.xml"/><Relationship Id="rId4" Type="http://schemas.openxmlformats.org/officeDocument/2006/relationships/tags" Target="../tags/tag125.xml"/><Relationship Id="rId9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8.xml"/><Relationship Id="rId7" Type="http://schemas.openxmlformats.org/officeDocument/2006/relationships/image" Target="../media/image2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9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0.xml"/><Relationship Id="rId7" Type="http://schemas.openxmlformats.org/officeDocument/2006/relationships/oleObject" Target="../embeddings/oleObject48.bin"/><Relationship Id="rId2" Type="http://schemas.openxmlformats.org/officeDocument/2006/relationships/vmlDrawing" Target="../drawings/vmlDrawing48.vml"/><Relationship Id="rId1" Type="http://schemas.openxmlformats.org/officeDocument/2006/relationships/themeOverride" Target="../theme/themeOverride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2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2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9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tmp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8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.xml"/><Relationship Id="rId7" Type="http://schemas.openxmlformats.org/officeDocument/2006/relationships/oleObject" Target="../embeddings/oleObject7.bin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10" Type="http://schemas.openxmlformats.org/officeDocument/2006/relationships/image" Target="../media/image5.png"/><Relationship Id="rId4" Type="http://schemas.openxmlformats.org/officeDocument/2006/relationships/tags" Target="../tags/tag18.xml"/><Relationship Id="rId9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1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6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5.v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66.v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70.xml"/><Relationship Id="rId7" Type="http://schemas.openxmlformats.org/officeDocument/2006/relationships/image" Target="../media/image17.jpeg"/><Relationship Id="rId2" Type="http://schemas.openxmlformats.org/officeDocument/2006/relationships/tags" Target="../tags/tag16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0.xml"/><Relationship Id="rId7" Type="http://schemas.openxmlformats.org/officeDocument/2006/relationships/oleObject" Target="../embeddings/oleObject8.bin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10" Type="http://schemas.openxmlformats.org/officeDocument/2006/relationships/image" Target="../media/image5.png"/><Relationship Id="rId4" Type="http://schemas.openxmlformats.org/officeDocument/2006/relationships/tags" Target="../tags/tag21.xml"/><Relationship Id="rId9" Type="http://schemas.openxmlformats.org/officeDocument/2006/relationships/image" Target="../media/image6.png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2.xml"/><Relationship Id="rId7" Type="http://schemas.openxmlformats.org/officeDocument/2006/relationships/image" Target="../media/image2.emf"/><Relationship Id="rId2" Type="http://schemas.openxmlformats.org/officeDocument/2006/relationships/tags" Target="../tags/tag171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2.emf"/><Relationship Id="rId2" Type="http://schemas.openxmlformats.org/officeDocument/2006/relationships/tags" Target="../tags/tag174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2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4.vml"/><Relationship Id="rId1" Type="http://schemas.openxmlformats.org/officeDocument/2006/relationships/themeOverride" Target="../theme/themeOverride32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1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2.xml"/><Relationship Id="rId7" Type="http://schemas.openxmlformats.org/officeDocument/2006/relationships/oleObject" Target="../embeddings/oleObject75.bin"/><Relationship Id="rId2" Type="http://schemas.openxmlformats.org/officeDocument/2006/relationships/vmlDrawing" Target="../drawings/vmlDrawing75.vml"/><Relationship Id="rId1" Type="http://schemas.openxmlformats.org/officeDocument/2006/relationships/themeOverride" Target="../theme/themeOverride3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4.xml"/><Relationship Id="rId4" Type="http://schemas.openxmlformats.org/officeDocument/2006/relationships/tags" Target="../tags/tag183.xml"/><Relationship Id="rId9" Type="http://schemas.openxmlformats.org/officeDocument/2006/relationships/image" Target="../media/image6.png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5.xml"/><Relationship Id="rId7" Type="http://schemas.openxmlformats.org/officeDocument/2006/relationships/oleObject" Target="../embeddings/oleObject76.bin"/><Relationship Id="rId2" Type="http://schemas.openxmlformats.org/officeDocument/2006/relationships/vmlDrawing" Target="../drawings/vmlDrawing76.vml"/><Relationship Id="rId1" Type="http://schemas.openxmlformats.org/officeDocument/2006/relationships/themeOverride" Target="../theme/themeOverride3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7.xml"/><Relationship Id="rId4" Type="http://schemas.openxmlformats.org/officeDocument/2006/relationships/tags" Target="../tags/tag186.xml"/><Relationship Id="rId9" Type="http://schemas.openxmlformats.org/officeDocument/2006/relationships/image" Target="../media/image6.png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8.xml"/><Relationship Id="rId7" Type="http://schemas.openxmlformats.org/officeDocument/2006/relationships/oleObject" Target="../embeddings/oleObject77.bin"/><Relationship Id="rId2" Type="http://schemas.openxmlformats.org/officeDocument/2006/relationships/vmlDrawing" Target="../drawings/vmlDrawing77.vml"/><Relationship Id="rId1" Type="http://schemas.openxmlformats.org/officeDocument/2006/relationships/themeOverride" Target="../theme/themeOverride3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0.xml"/><Relationship Id="rId4" Type="http://schemas.openxmlformats.org/officeDocument/2006/relationships/tags" Target="../tags/tag189.xml"/><Relationship Id="rId9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1.xml"/><Relationship Id="rId7" Type="http://schemas.openxmlformats.org/officeDocument/2006/relationships/oleObject" Target="../embeddings/oleObject78.bin"/><Relationship Id="rId2" Type="http://schemas.openxmlformats.org/officeDocument/2006/relationships/vmlDrawing" Target="../drawings/vmlDrawing78.vml"/><Relationship Id="rId1" Type="http://schemas.openxmlformats.org/officeDocument/2006/relationships/themeOverride" Target="../theme/themeOverride3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3.xml"/><Relationship Id="rId4" Type="http://schemas.openxmlformats.org/officeDocument/2006/relationships/tags" Target="../tags/tag192.xml"/><Relationship Id="rId9" Type="http://schemas.openxmlformats.org/officeDocument/2006/relationships/image" Target="../media/image6.png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4.xml"/><Relationship Id="rId7" Type="http://schemas.openxmlformats.org/officeDocument/2006/relationships/oleObject" Target="../embeddings/oleObject79.bin"/><Relationship Id="rId2" Type="http://schemas.openxmlformats.org/officeDocument/2006/relationships/vmlDrawing" Target="../drawings/vmlDrawing79.vml"/><Relationship Id="rId1" Type="http://schemas.openxmlformats.org/officeDocument/2006/relationships/themeOverride" Target="../theme/themeOverride3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6.xml"/><Relationship Id="rId4" Type="http://schemas.openxmlformats.org/officeDocument/2006/relationships/tags" Target="../tags/tag195.xml"/><Relationship Id="rId9" Type="http://schemas.openxmlformats.org/officeDocument/2006/relationships/image" Target="../media/image6.png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7.xml"/><Relationship Id="rId7" Type="http://schemas.openxmlformats.org/officeDocument/2006/relationships/oleObject" Target="../embeddings/oleObject80.bin"/><Relationship Id="rId2" Type="http://schemas.openxmlformats.org/officeDocument/2006/relationships/vmlDrawing" Target="../drawings/vmlDrawing80.vml"/><Relationship Id="rId1" Type="http://schemas.openxmlformats.org/officeDocument/2006/relationships/themeOverride" Target="../theme/themeOverride3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9.xml"/><Relationship Id="rId4" Type="http://schemas.openxmlformats.org/officeDocument/2006/relationships/tags" Target="../tags/tag198.xml"/><Relationship Id="rId9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.xml"/><Relationship Id="rId7" Type="http://schemas.openxmlformats.org/officeDocument/2006/relationships/oleObject" Target="../embeddings/oleObject9.bin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6.png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01.xml"/><Relationship Id="rId7" Type="http://schemas.openxmlformats.org/officeDocument/2006/relationships/image" Target="../media/image2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2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03.xml"/><Relationship Id="rId7" Type="http://schemas.openxmlformats.org/officeDocument/2006/relationships/oleObject" Target="../embeddings/oleObject82.bin"/><Relationship Id="rId2" Type="http://schemas.openxmlformats.org/officeDocument/2006/relationships/vmlDrawing" Target="../drawings/vmlDrawing82.vml"/><Relationship Id="rId1" Type="http://schemas.openxmlformats.org/officeDocument/2006/relationships/themeOverride" Target="../theme/themeOverride3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image" Target="../media/image10.png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07.xml"/><Relationship Id="rId7" Type="http://schemas.openxmlformats.org/officeDocument/2006/relationships/image" Target="../media/image2.emf"/><Relationship Id="rId2" Type="http://schemas.openxmlformats.org/officeDocument/2006/relationships/tags" Target="../tags/tag206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8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8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09.xml"/><Relationship Id="rId7" Type="http://schemas.openxmlformats.org/officeDocument/2006/relationships/oleObject" Target="../embeddings/oleObject84.bin"/><Relationship Id="rId2" Type="http://schemas.openxmlformats.org/officeDocument/2006/relationships/vmlDrawing" Target="../drawings/vmlDrawing84.vml"/><Relationship Id="rId1" Type="http://schemas.openxmlformats.org/officeDocument/2006/relationships/themeOverride" Target="../theme/themeOverride4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1.xml"/><Relationship Id="rId4" Type="http://schemas.openxmlformats.org/officeDocument/2006/relationships/tags" Target="../tags/tag210.xml"/><Relationship Id="rId9" Type="http://schemas.openxmlformats.org/officeDocument/2006/relationships/image" Target="../media/image7.pn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13.xml"/><Relationship Id="rId7" Type="http://schemas.openxmlformats.org/officeDocument/2006/relationships/image" Target="../media/image2.emf"/><Relationship Id="rId2" Type="http://schemas.openxmlformats.org/officeDocument/2006/relationships/tags" Target="../tags/tag212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8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14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5.xml"/><Relationship Id="rId7" Type="http://schemas.openxmlformats.org/officeDocument/2006/relationships/oleObject" Target="../embeddings/oleObject86.bin"/><Relationship Id="rId2" Type="http://schemas.openxmlformats.org/officeDocument/2006/relationships/vmlDrawing" Target="../drawings/vmlDrawing86.vml"/><Relationship Id="rId1" Type="http://schemas.openxmlformats.org/officeDocument/2006/relationships/themeOverride" Target="../theme/themeOverride4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7.xml"/><Relationship Id="rId4" Type="http://schemas.openxmlformats.org/officeDocument/2006/relationships/tags" Target="../tags/tag216.xml"/><Relationship Id="rId9" Type="http://schemas.openxmlformats.org/officeDocument/2006/relationships/image" Target="../media/image7.png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19.xml"/><Relationship Id="rId7" Type="http://schemas.openxmlformats.org/officeDocument/2006/relationships/image" Target="../media/image2.emf"/><Relationship Id="rId2" Type="http://schemas.openxmlformats.org/officeDocument/2006/relationships/tags" Target="../tags/tag218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8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0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21.xml"/><Relationship Id="rId7" Type="http://schemas.openxmlformats.org/officeDocument/2006/relationships/oleObject" Target="../embeddings/oleObject88.bin"/><Relationship Id="rId2" Type="http://schemas.openxmlformats.org/officeDocument/2006/relationships/vmlDrawing" Target="../drawings/vmlDrawing88.vml"/><Relationship Id="rId1" Type="http://schemas.openxmlformats.org/officeDocument/2006/relationships/themeOverride" Target="../theme/themeOverride4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3.xml"/><Relationship Id="rId4" Type="http://schemas.openxmlformats.org/officeDocument/2006/relationships/tags" Target="../tags/tag22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7" Type="http://schemas.openxmlformats.org/officeDocument/2006/relationships/image" Target="../media/image2.emf"/><Relationship Id="rId2" Type="http://schemas.openxmlformats.org/officeDocument/2006/relationships/tags" Target="../tags/tag224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8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0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6.xml"/><Relationship Id="rId7" Type="http://schemas.openxmlformats.org/officeDocument/2006/relationships/oleObject" Target="../embeddings/oleObject10.bin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6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2.emf"/><Relationship Id="rId2" Type="http://schemas.openxmlformats.org/officeDocument/2006/relationships/tags" Target="../tags/tag228.xml"/><Relationship Id="rId1" Type="http://schemas.openxmlformats.org/officeDocument/2006/relationships/vmlDrawing" Target="../drawings/vmlDrawing91.vml"/><Relationship Id="rId6" Type="http://schemas.openxmlformats.org/officeDocument/2006/relationships/oleObject" Target="../embeddings/oleObject9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0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3.vml"/><Relationship Id="rId1" Type="http://schemas.openxmlformats.org/officeDocument/2006/relationships/themeOverride" Target="../theme/themeOverride43.xml"/><Relationship Id="rId6" Type="http://schemas.openxmlformats.org/officeDocument/2006/relationships/oleObject" Target="../embeddings/oleObject9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5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41.xml"/><Relationship Id="rId7" Type="http://schemas.openxmlformats.org/officeDocument/2006/relationships/image" Target="../media/image17.jpeg"/><Relationship Id="rId2" Type="http://schemas.openxmlformats.org/officeDocument/2006/relationships/tags" Target="../tags/tag240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43.xml"/><Relationship Id="rId7" Type="http://schemas.openxmlformats.org/officeDocument/2006/relationships/image" Target="../media/image2.emf"/><Relationship Id="rId2" Type="http://schemas.openxmlformats.org/officeDocument/2006/relationships/tags" Target="../tags/tag242.xml"/><Relationship Id="rId1" Type="http://schemas.openxmlformats.org/officeDocument/2006/relationships/vmlDrawing" Target="../drawings/vmlDrawing98.vml"/><Relationship Id="rId6" Type="http://schemas.openxmlformats.org/officeDocument/2006/relationships/oleObject" Target="../embeddings/oleObject9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7" Type="http://schemas.openxmlformats.org/officeDocument/2006/relationships/image" Target="../media/image2.emf"/><Relationship Id="rId2" Type="http://schemas.openxmlformats.org/officeDocument/2006/relationships/tags" Target="../tags/tag245.xml"/><Relationship Id="rId1" Type="http://schemas.openxmlformats.org/officeDocument/2006/relationships/vmlDrawing" Target="../drawings/vmlDrawing99.vml"/><Relationship Id="rId6" Type="http://schemas.openxmlformats.org/officeDocument/2006/relationships/oleObject" Target="../embeddings/oleObject9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image" Target="../media/image2.emf"/><Relationship Id="rId2" Type="http://schemas.openxmlformats.org/officeDocument/2006/relationships/tags" Target="../tags/tag248.xm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10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066180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D6820FB-8549-4A5C-8636-C66FC92346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518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21665" y="1993159"/>
            <a:ext cx="5567576" cy="1366088"/>
          </a:xfrm>
        </p:spPr>
        <p:txBody>
          <a:bodyPr>
            <a:noAutofit/>
          </a:bodyPr>
          <a:lstStyle>
            <a:lvl1pPr>
              <a:defRPr sz="3518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1793053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1281846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E3210A1-FD5B-4C57-8642-853CDD0D1F1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40040" y="0"/>
            <a:ext cx="407396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640346" y="0"/>
            <a:ext cx="4272255" cy="6718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40817" y="0"/>
            <a:ext cx="4271784" cy="67183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563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icon below to insert an image or remove this placeholder to use the whitespace in another way</a:t>
            </a:r>
            <a:endParaRPr lang="ru-RU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375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2" y="1767888"/>
            <a:ext cx="6104379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edit title</a:t>
            </a:r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55587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730921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98BCA52-73A9-4934-8D39-2584D4BFC9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3" y="3748847"/>
            <a:ext cx="10686165" cy="1999620"/>
          </a:xfrm>
        </p:spPr>
        <p:txBody>
          <a:bodyPr anchor="t">
            <a:noAutofit/>
          </a:bodyPr>
          <a:lstStyle>
            <a:lvl1pPr>
              <a:defRPr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section title</a:t>
            </a:r>
            <a:endParaRPr lang="ru-RU" dirty="0"/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15563" y="3605053"/>
            <a:ext cx="11293703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834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567370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34D734A-525A-42E5-BB1D-1D94079D7D7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71838" y="0"/>
            <a:ext cx="407396" cy="67183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986019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706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9968560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9733AF3E-6B39-4B14-8295-6A8DAEB6DEC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01395" y="0"/>
            <a:ext cx="407396" cy="67183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007599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610114"/>
            <a:ext cx="6132692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805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120630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60001238-6C76-4310-8F7F-4524BCAA7F8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22326" y="0"/>
            <a:ext cx="407396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8827237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7915923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627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2868964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BB416AB-198E-4514-9D4B-E440AAAC8F5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987246" y="-1282"/>
            <a:ext cx="7925354" cy="671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190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813993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9253684-1842-481A-AED8-BB0C62E1731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9196" y="0"/>
            <a:ext cx="407396" cy="67183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52413" y="0"/>
            <a:ext cx="5960186" cy="67183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59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icon below to insert an image or remove this placeholder to use the whitespace in another way</a:t>
            </a:r>
            <a:endParaRPr lang="ru-RU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2" y="1749227"/>
            <a:ext cx="4287833" cy="321984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299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985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96644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C66BC882-5685-47A4-AC00-A68208221F0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40040" y="0"/>
            <a:ext cx="407396" cy="67183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640346" y="0"/>
            <a:ext cx="4272255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40817" y="0"/>
            <a:ext cx="4271784" cy="67183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3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icon below to insert an image or remove this placeholder to use the whitespace in another way</a:t>
            </a:r>
            <a:endParaRPr lang="ru-RU" dirty="0"/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16477" y="1749227"/>
            <a:ext cx="6104379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118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715468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7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E58E6E31-B585-4E44-AEEF-CF91A42478F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>
                <a:solidFill>
                  <a:schemeClr val="tx2"/>
                </a:solidFill>
              </a:rPr>
              <a:t>Click to add title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657" y="3517261"/>
            <a:ext cx="1333963" cy="3314050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4547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5646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13D940B-8DDE-42DF-9BB5-B50292A68A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24807" y="3333512"/>
            <a:ext cx="2632913" cy="339122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44258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828068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BC3CBA04-B8F8-462C-9606-450F29A4A04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532" y="3325247"/>
            <a:ext cx="1268816" cy="349911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727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2882794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3AB5FED-426E-48BA-A08A-30A20238A90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>
                <a:solidFill>
                  <a:schemeClr val="tx2"/>
                </a:solidFill>
              </a:rPr>
              <a:t>Click to add title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657" y="3517261"/>
            <a:ext cx="1333963" cy="3314050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7029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94797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9C317D8-212E-4049-8A1A-1F2AC5BA77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496062" y="3346709"/>
            <a:ext cx="2632913" cy="3371591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95486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7946489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A7D0A2C4-5F86-428C-BD3A-C66C33DB6B3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4639018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106" y="3516484"/>
            <a:ext cx="1333963" cy="3314050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3928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17503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DE4FECAE-146F-4B62-92B4-BA03D90031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4639018" cy="325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57960" y="3338385"/>
            <a:ext cx="2632913" cy="33861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29711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483610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9EA719B6-195C-470B-8070-521CF454A53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6111164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685" y="3516484"/>
            <a:ext cx="1333963" cy="3314050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0031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81057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1786AEA9-819E-4F6C-BF25-3BD37322FB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6111164" cy="325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17120" y="3338385"/>
            <a:ext cx="2632913" cy="33861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840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386958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249CDA4-B54F-43E8-882D-0DBF264FCD5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6086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65300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DDA8CEA-0B60-4E8A-8420-B412259727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5562" y="612734"/>
            <a:ext cx="911314" cy="913689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926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28317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40707" y="112134"/>
            <a:ext cx="753587" cy="979020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1912600" cy="574781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9A9A9A"/>
          </a:solidFill>
          <a:ln>
            <a:noFill/>
          </a:ln>
          <a:effectLst/>
        </p:spPr>
        <p:txBody>
          <a:bodyPr vert="horz" wrap="square" lIns="89345" tIns="44672" rIns="89345" bIns="44672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ru-RU" sz="2247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69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90908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E39DEA4C-B4E6-4356-8890-D5D4684F0A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106826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654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4496367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562" y="2525421"/>
            <a:ext cx="2915672" cy="1725876"/>
          </a:xfrm>
        </p:spPr>
        <p:txBody>
          <a:bodyPr/>
          <a:lstStyle>
            <a:lvl1pPr marL="0" indent="0">
              <a:lnSpc>
                <a:spcPct val="106000"/>
              </a:lnSpc>
              <a:spcAft>
                <a:spcPts val="684"/>
              </a:spcAft>
              <a:buFontTx/>
              <a:buNone/>
              <a:defRPr sz="5276"/>
            </a:lvl1pPr>
          </a:lstStyle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ru-RU"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398" y="3513685"/>
            <a:ext cx="1333963" cy="3314050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3514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07109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805D7D53-DA67-4123-A50A-91B7CC924C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</p:spPr>
        <p:txBody>
          <a:bodyPr anchor="ctr" anchorCtr="0">
            <a:noAutofit/>
          </a:bodyPr>
          <a:lstStyle>
            <a:lvl1pPr>
              <a:defRPr sz="3127" baseline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24807" y="3333512"/>
            <a:ext cx="2632913" cy="339122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9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1564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5983069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7943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42075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85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457494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19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686690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26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9038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86" y="-1"/>
            <a:ext cx="11914359" cy="67183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59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eaLnBrk="1">
                <a:lnSpc>
                  <a:spcPct val="90000"/>
                </a:lnSpc>
                <a:spcAft>
                  <a:spcPts val="977"/>
                </a:spcAft>
              </a:pPr>
              <a:endParaRPr lang="ru-RU" sz="1173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xxxx  2. xxxx  3. xxxx</a:t>
              </a:r>
            </a:p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  <a:endParaRPr kumimoji="0" lang="ru-RU" sz="977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68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171272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56334" y="4595626"/>
            <a:ext cx="908040" cy="975588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451973" y="4595626"/>
            <a:ext cx="1534169" cy="1438269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8689" tIns="175875" rIns="178689" bIns="1786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>
              <a:lnSpc>
                <a:spcPct val="95000"/>
              </a:lnSpc>
            </a:pPr>
            <a:endParaRPr lang="ru-RU" sz="1173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15563" y="888719"/>
            <a:ext cx="3369765" cy="3515500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97975" tIns="457275" rIns="0" bIns="0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586"/>
              </a:spcAft>
            </a:pP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54983" y="1092694"/>
            <a:ext cx="2690221" cy="863818"/>
          </a:xfrm>
        </p:spPr>
        <p:txBody>
          <a:bodyPr/>
          <a:lstStyle>
            <a:lvl1pPr algn="ctr">
              <a:defRPr sz="5276"/>
            </a:lvl1pPr>
          </a:lstStyle>
          <a:p>
            <a:r>
              <a:rPr lang="ru-RU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203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273601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55748" y="2613260"/>
            <a:ext cx="9398760" cy="3135207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338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9703567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5563" y="610113"/>
            <a:ext cx="7025227" cy="461306"/>
          </a:xfrm>
        </p:spPr>
        <p:txBody>
          <a:bodyPr/>
          <a:lstStyle>
            <a:lvl1pPr>
              <a:defRPr sz="3322"/>
            </a:lvl1pPr>
          </a:lstStyle>
          <a:p>
            <a:r>
              <a:rPr lang="ru-RU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04715" y="1181433"/>
            <a:ext cx="11311014" cy="0"/>
          </a:xfrm>
          <a:prstGeom prst="line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5837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848132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987246" y="-1282"/>
            <a:ext cx="7925354" cy="67195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5563" y="3142373"/>
            <a:ext cx="1511688" cy="434170"/>
          </a:xfrm>
        </p:spPr>
        <p:txBody>
          <a:bodyPr/>
          <a:lstStyle>
            <a:lvl1pPr>
              <a:lnSpc>
                <a:spcPct val="90000"/>
              </a:lnSpc>
              <a:spcAft>
                <a:spcPts val="586"/>
              </a:spcAft>
              <a:defRPr sz="3127"/>
            </a:lvl1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3127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127" dirty="0">
              <a:solidFill>
                <a:schemeClr val="tx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090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699809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56334" y="4595626"/>
            <a:ext cx="908040" cy="975588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451973" y="4595626"/>
            <a:ext cx="1534169" cy="1438269"/>
          </a:xfrm>
          <a:prstGeom prst="rect">
            <a:avLst/>
          </a:prstGeom>
          <a:noFill/>
          <a:ln w="9525" cmpd="sng">
            <a:solidFill>
              <a:srgbClr val="595959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8689" tIns="175875" rIns="178689" bIns="1786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>
              <a:lnSpc>
                <a:spcPct val="95000"/>
              </a:lnSpc>
            </a:pPr>
            <a:endParaRPr lang="ru-RU" sz="1173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5563" y="888718"/>
            <a:ext cx="3369765" cy="3540383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lIns="597975" tIns="457275" rIns="0" bIns="0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586"/>
              </a:spcAft>
            </a:pPr>
            <a:endParaRPr lang="ru-RU" sz="5276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54983" y="1092694"/>
            <a:ext cx="2690221" cy="863818"/>
          </a:xfrm>
        </p:spPr>
        <p:txBody>
          <a:bodyPr/>
          <a:lstStyle>
            <a:lvl1pPr algn="ctr">
              <a:defRPr sz="5276"/>
            </a:lvl1pPr>
          </a:lstStyle>
          <a:p>
            <a:r>
              <a:rPr lang="ru-RU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3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6585115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B867DC32-0902-47CD-9D2A-E476359593D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532" y="3325247"/>
            <a:ext cx="1268816" cy="349911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9724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14628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55748" y="2613260"/>
            <a:ext cx="9398760" cy="3135207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58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873642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5563" y="610113"/>
            <a:ext cx="7025227" cy="461306"/>
          </a:xfrm>
        </p:spPr>
        <p:txBody>
          <a:bodyPr/>
          <a:lstStyle>
            <a:lvl1pPr>
              <a:defRPr sz="3322"/>
            </a:lvl1pPr>
          </a:lstStyle>
          <a:p>
            <a:r>
              <a:rPr lang="ru-RU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04715" y="1181433"/>
            <a:ext cx="11311014" cy="0"/>
          </a:xfrm>
          <a:prstGeom prst="line">
            <a:avLst/>
          </a:prstGeom>
          <a:ln w="9525" cmpd="sng">
            <a:solidFill>
              <a:srgbClr val="595959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395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4396063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987246" y="-1282"/>
            <a:ext cx="7925354" cy="671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5563" y="3195694"/>
            <a:ext cx="1134440" cy="325628"/>
          </a:xfrm>
        </p:spPr>
        <p:txBody>
          <a:bodyPr/>
          <a:lstStyle>
            <a:lvl1pPr>
              <a:lnSpc>
                <a:spcPct val="90000"/>
              </a:lnSpc>
              <a:spcAft>
                <a:spcPts val="586"/>
              </a:spcAft>
              <a:defRPr sz="2345"/>
            </a:lvl1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2345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076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9547560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5562" y="2525421"/>
            <a:ext cx="3100034" cy="1725876"/>
          </a:xfrm>
        </p:spPr>
        <p:txBody>
          <a:bodyPr/>
          <a:lstStyle>
            <a:lvl1pPr marL="0" indent="0">
              <a:lnSpc>
                <a:spcPct val="106000"/>
              </a:lnSpc>
              <a:spcAft>
                <a:spcPts val="684"/>
              </a:spcAft>
              <a:buFontTx/>
              <a:buNone/>
              <a:defRPr sz="5276"/>
            </a:lvl1pPr>
          </a:lstStyle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ru-RU"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398" y="3513685"/>
            <a:ext cx="1333963" cy="3314050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2747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75420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51F90FE-1DCA-49F0-9A05-C7BB2E71BC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518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21665" y="1993159"/>
            <a:ext cx="5567576" cy="1366088"/>
          </a:xfrm>
        </p:spPr>
        <p:txBody>
          <a:bodyPr>
            <a:noAutofit/>
          </a:bodyPr>
          <a:lstStyle>
            <a:lvl1pPr>
              <a:defRPr sz="3518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99104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736010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BCAB4B9-0372-4FAF-903E-86DD4AC3A2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36">
            <a:extLst>
              <a:ext uri="{FF2B5EF4-FFF2-40B4-BE49-F238E27FC236}">
                <a16:creationId xmlns:a16="http://schemas.microsoft.com/office/drawing/2014/main" id="{8A72E958-D480-4322-9F07-11667CBB0245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 t="571" r="55" b="32592"/>
          <a:stretch/>
        </p:blipFill>
        <p:spPr>
          <a:xfrm>
            <a:off x="11106435" y="104891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10" name="Title 7">
            <a:extLst>
              <a:ext uri="{FF2B5EF4-FFF2-40B4-BE49-F238E27FC236}">
                <a16:creationId xmlns:a16="http://schemas.microsoft.com/office/drawing/2014/main" id="{59F43FC9-7AD6-4277-AA28-EA348520C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562" y="403266"/>
            <a:ext cx="102830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7919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768845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047B4956-6D3A-4243-AB21-C13EEBA7870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282"/>
            <a:ext cx="4586820" cy="67195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15562" y="1512817"/>
            <a:ext cx="3373283" cy="146532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127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7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254920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8A19592B-CDF4-49DC-8DA9-307BE14C53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5301" y="2613692"/>
            <a:ext cx="9400021" cy="3135820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1079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939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760729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21C3E90-28AA-46ED-887C-56A536741E5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3" y="3748847"/>
            <a:ext cx="10686165" cy="1999620"/>
          </a:xfrm>
        </p:spPr>
        <p:txBody>
          <a:bodyPr anchor="t">
            <a:noAutofit/>
          </a:bodyPr>
          <a:lstStyle>
            <a:lvl1pPr>
              <a:defRPr sz="5276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04715" y="3605053"/>
            <a:ext cx="11311014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9192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0147011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190B70C-298F-41CB-9216-8C2E0C5B23B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971838" y="0"/>
            <a:ext cx="407396" cy="67183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986019" cy="6718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6973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13844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CB5FDBB5-2ED6-42BD-95EF-6C548745A1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496062" y="3346709"/>
            <a:ext cx="2632913" cy="3371591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5978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789189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55A3092-66BF-4CFB-A972-2354665AAFA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001395" y="0"/>
            <a:ext cx="407396" cy="67183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007599" cy="6718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2152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441994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4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BD783C4-C169-41B0-B85A-D12B4B3D0C0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987246" y="-1282"/>
            <a:ext cx="7925354" cy="67195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2283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1400008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5809725-2D7C-4971-995B-C52371B72E1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559196" y="0"/>
            <a:ext cx="407396" cy="67183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52413" y="0"/>
            <a:ext cx="5960186" cy="67183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759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icon</a:t>
            </a:r>
            <a:r>
              <a:rPr lang="ru-RU" dirty="0"/>
              <a:t> </a:t>
            </a:r>
            <a:r>
              <a:rPr lang="ru-RU" dirty="0" err="1"/>
              <a:t>below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insert</a:t>
            </a:r>
            <a:r>
              <a:rPr lang="ru-RU" dirty="0"/>
              <a:t> </a:t>
            </a:r>
            <a:r>
              <a:rPr lang="ru-RU" dirty="0" err="1"/>
              <a:t>an</a:t>
            </a:r>
            <a:r>
              <a:rPr lang="ru-RU" dirty="0"/>
              <a:t> </a:t>
            </a:r>
            <a:r>
              <a:rPr lang="ru-RU" dirty="0" err="1"/>
              <a:t>imag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remove</a:t>
            </a:r>
            <a:r>
              <a:rPr lang="ru-RU" dirty="0"/>
              <a:t> </a:t>
            </a:r>
            <a:r>
              <a:rPr lang="ru-RU" dirty="0" err="1"/>
              <a:t>this</a:t>
            </a:r>
            <a:r>
              <a:rPr lang="ru-RU" dirty="0"/>
              <a:t> </a:t>
            </a:r>
            <a:r>
              <a:rPr lang="ru-RU" dirty="0" err="1"/>
              <a:t>placeholder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use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whitespace</a:t>
            </a:r>
            <a:r>
              <a:rPr lang="ru-RU" dirty="0"/>
              <a:t> </a:t>
            </a:r>
            <a:r>
              <a:rPr lang="ru-RU" dirty="0" err="1"/>
              <a:t>in</a:t>
            </a:r>
            <a:r>
              <a:rPr lang="ru-RU" dirty="0"/>
              <a:t> </a:t>
            </a:r>
            <a:r>
              <a:rPr lang="ru-RU" dirty="0" err="1"/>
              <a:t>another</a:t>
            </a:r>
            <a:r>
              <a:rPr lang="ru-RU" dirty="0"/>
              <a:t> </a:t>
            </a:r>
            <a:r>
              <a:rPr lang="ru-RU" dirty="0" err="1"/>
              <a:t>way</a:t>
            </a:r>
            <a:endParaRPr lang="ru-RU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15562" y="1749227"/>
            <a:ext cx="4287833" cy="321984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615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193197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9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EE82488-64B8-4EB5-8B9C-29871133A4C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240040" y="0"/>
            <a:ext cx="407396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640346" y="0"/>
            <a:ext cx="4272255" cy="6718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40817" y="0"/>
            <a:ext cx="4271784" cy="67183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563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icon</a:t>
            </a:r>
            <a:r>
              <a:rPr lang="ru-RU" dirty="0"/>
              <a:t> </a:t>
            </a:r>
            <a:r>
              <a:rPr lang="ru-RU" dirty="0" err="1"/>
              <a:t>below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insert</a:t>
            </a:r>
            <a:r>
              <a:rPr lang="ru-RU" dirty="0"/>
              <a:t> </a:t>
            </a:r>
            <a:r>
              <a:rPr lang="ru-RU" dirty="0" err="1"/>
              <a:t>an</a:t>
            </a:r>
            <a:r>
              <a:rPr lang="ru-RU" dirty="0"/>
              <a:t> </a:t>
            </a:r>
            <a:r>
              <a:rPr lang="ru-RU" dirty="0" err="1"/>
              <a:t>imag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remove</a:t>
            </a:r>
            <a:r>
              <a:rPr lang="ru-RU" dirty="0"/>
              <a:t> </a:t>
            </a:r>
            <a:r>
              <a:rPr lang="ru-RU" dirty="0" err="1"/>
              <a:t>this</a:t>
            </a:r>
            <a:r>
              <a:rPr lang="ru-RU" dirty="0"/>
              <a:t> </a:t>
            </a:r>
            <a:r>
              <a:rPr lang="ru-RU" dirty="0" err="1"/>
              <a:t>placeholder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use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whitespace</a:t>
            </a:r>
            <a:r>
              <a:rPr lang="ru-RU" dirty="0"/>
              <a:t> </a:t>
            </a:r>
            <a:r>
              <a:rPr lang="ru-RU" dirty="0" err="1"/>
              <a:t>in</a:t>
            </a:r>
            <a:r>
              <a:rPr lang="ru-RU" dirty="0"/>
              <a:t> </a:t>
            </a:r>
            <a:r>
              <a:rPr lang="ru-RU" dirty="0" err="1"/>
              <a:t>another</a:t>
            </a:r>
            <a:r>
              <a:rPr lang="ru-RU" dirty="0"/>
              <a:t> </a:t>
            </a:r>
            <a:r>
              <a:rPr lang="ru-RU" dirty="0" err="1"/>
              <a:t>way</a:t>
            </a:r>
            <a:endParaRPr lang="ru-RU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375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2" y="1767888"/>
            <a:ext cx="6104379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87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4755827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1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4B46866-D191-4025-84BE-13A83E17879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>
                <a:solidFill>
                  <a:schemeClr val="tx2"/>
                </a:solidFill>
              </a:rPr>
              <a:t>Click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to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add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title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0657" y="3517261"/>
            <a:ext cx="1333963" cy="3314050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984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84357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078A08ED-3D8F-4B0A-BB09-4FA0A7332B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</p:spPr>
        <p:txBody>
          <a:bodyPr anchor="ctr" anchorCtr="0">
            <a:noAutofit/>
          </a:bodyPr>
          <a:lstStyle>
            <a:lvl1pPr>
              <a:defRPr sz="3127" baseline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24807" y="3333512"/>
            <a:ext cx="2632913" cy="339122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0259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2194667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7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D7AFC22B-0C95-4815-89AA-2B792A578BC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6532" y="3325247"/>
            <a:ext cx="1268816" cy="349911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358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4230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BF38D73-E36A-4FFB-B6A7-7A444B65D5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6062" y="3346709"/>
            <a:ext cx="2632913" cy="3371591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6382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6481551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8283E16-43FF-4AC5-B9A1-81E7E685F0B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4566542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4106" y="3516484"/>
            <a:ext cx="1333963" cy="3314050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4759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218793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41C15B0-C7F1-4D57-A517-EC9C0406A5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4566542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357960" y="3338385"/>
            <a:ext cx="2632913" cy="33861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0408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91922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23908B0-9481-49D5-A62C-52A02765368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4566542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106" y="3516484"/>
            <a:ext cx="1333963" cy="3314050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26596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2638545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067DC6C6-92B8-4731-ABA1-8E97022A066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8685" y="3516484"/>
            <a:ext cx="1333963" cy="3314050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6183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195349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CB7B335-7238-4994-9EF9-AB40BFF710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417120" y="3338385"/>
            <a:ext cx="2632913" cy="33861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7574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9086045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1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BB29E58-BBD4-4DF1-85EF-30B0B8FC662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056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797254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C5FA732E-E21A-48B9-B0DD-4FFF836DE6A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5562" y="612734"/>
            <a:ext cx="911314" cy="913689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0218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86357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640707" y="112134"/>
            <a:ext cx="753587" cy="979020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1912600" cy="574781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89345" tIns="44672" rIns="89345" bIns="44672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ru-RU" sz="2247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7624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34925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8BE01FC5-A611-4A8F-85B9-BD5AB6A1E91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10682648" cy="461306"/>
          </a:xfrm>
        </p:spPr>
        <p:txBody>
          <a:bodyPr/>
          <a:lstStyle>
            <a:lvl1pPr>
              <a:defRPr sz="3322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423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620797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98A047B-7DF3-49D2-9516-5A02F95629C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D442763-A4BD-4B6D-B720-0B7DEA4A403C}"/>
              </a:ext>
            </a:extLst>
          </p:cNvPr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pic>
        <p:nvPicPr>
          <p:cNvPr id="9" name="Picture 36">
            <a:extLst>
              <a:ext uri="{FF2B5EF4-FFF2-40B4-BE49-F238E27FC236}">
                <a16:creationId xmlns:a16="http://schemas.microsoft.com/office/drawing/2014/main" id="{F21AAE6A-4F5C-4565-8824-32FBAD4E1E3B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 t="571" r="55" b="32592"/>
          <a:stretch/>
        </p:blipFill>
        <p:spPr>
          <a:xfrm>
            <a:off x="11106435" y="104891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10" name="Title 7">
            <a:extLst>
              <a:ext uri="{FF2B5EF4-FFF2-40B4-BE49-F238E27FC236}">
                <a16:creationId xmlns:a16="http://schemas.microsoft.com/office/drawing/2014/main" id="{69AA8826-ABC1-4E8A-9C7A-8C084859C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562" y="403266"/>
            <a:ext cx="102830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364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1744033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5881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25031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8911F9AB-9C78-46C0-9B14-E2CEC7CD0C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68141270-1837-4555-9EA7-882564E4906B}"/>
              </a:ext>
            </a:extLst>
          </p:cNvPr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pic>
        <p:nvPicPr>
          <p:cNvPr id="7" name="Picture 36">
            <a:extLst>
              <a:ext uri="{FF2B5EF4-FFF2-40B4-BE49-F238E27FC236}">
                <a16:creationId xmlns:a16="http://schemas.microsoft.com/office/drawing/2014/main" id="{3DB6AD3A-E134-4ECA-AAA5-B8C11BE25966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 t="571" r="55" b="32592"/>
          <a:stretch/>
        </p:blipFill>
        <p:spPr>
          <a:xfrm>
            <a:off x="11106435" y="104891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53A173E2-8D91-49E9-915F-2F948A0353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562" y="403266"/>
            <a:ext cx="102830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044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884419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030EF7DB-899F-422D-ADC0-F983082F66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15562" y="246206"/>
            <a:ext cx="102830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36">
            <a:extLst>
              <a:ext uri="{FF2B5EF4-FFF2-40B4-BE49-F238E27FC236}">
                <a16:creationId xmlns:a16="http://schemas.microsoft.com/office/drawing/2014/main" id="{875C3114-9D14-4DA6-90A8-C6FE1B3763D2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 t="571" r="55" b="32592"/>
          <a:stretch/>
        </p:blipFill>
        <p:spPr>
          <a:xfrm>
            <a:off x="11106435" y="100428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5315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495001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D1723B8-B978-4318-B892-08DFC8BD6E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4566542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57960" y="3338385"/>
            <a:ext cx="2632913" cy="33861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25766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14782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6102282-331A-432C-9776-B0DB8F4B0D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282"/>
            <a:ext cx="4586820" cy="67195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15563" y="2115008"/>
            <a:ext cx="3658200" cy="5306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63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46730" indent="0" algn="ctr">
              <a:buNone/>
              <a:defRPr sz="1954"/>
            </a:lvl2pPr>
            <a:lvl3pPr marL="893460" indent="0" algn="ctr">
              <a:buNone/>
              <a:defRPr sz="1759"/>
            </a:lvl3pPr>
            <a:lvl4pPr marL="1340190" indent="0" algn="ctr">
              <a:buNone/>
              <a:defRPr sz="1563"/>
            </a:lvl4pPr>
            <a:lvl5pPr marL="1786920" indent="0" algn="ctr">
              <a:buNone/>
              <a:defRPr sz="1563"/>
            </a:lvl5pPr>
            <a:lvl6pPr marL="2233651" indent="0" algn="ctr">
              <a:buNone/>
              <a:defRPr sz="1563"/>
            </a:lvl6pPr>
            <a:lvl7pPr marL="2680381" indent="0" algn="ctr">
              <a:buNone/>
              <a:defRPr sz="1563"/>
            </a:lvl7pPr>
            <a:lvl8pPr marL="3127111" indent="0" algn="ctr">
              <a:buNone/>
              <a:defRPr sz="1563"/>
            </a:lvl8pPr>
            <a:lvl9pPr marL="3573841" indent="0" algn="ctr">
              <a:buNone/>
              <a:defRPr sz="1563"/>
            </a:lvl9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subtitle</a:t>
            </a:r>
            <a:endParaRPr lang="ru-RU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1202053"/>
            <a:ext cx="3658200" cy="651255"/>
          </a:xfrm>
        </p:spPr>
        <p:txBody>
          <a:bodyPr anchor="t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857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40184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0F387AF2-0308-4C15-BD34-5FCA4148AA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5301" y="2613692"/>
            <a:ext cx="9400021" cy="313582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6E6F73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section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51344" y="1395072"/>
            <a:ext cx="929911" cy="932334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697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38603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DE64A83-7D86-42EB-8F44-19594A2BF2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3" y="3748847"/>
            <a:ext cx="10686165" cy="1999620"/>
          </a:xfrm>
          <a:ln/>
        </p:spPr>
        <p:txBody>
          <a:bodyPr anchor="t">
            <a:noAutofit/>
          </a:bodyPr>
          <a:lstStyle>
            <a:lvl1pPr>
              <a:defRPr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section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15563" y="3605053"/>
            <a:ext cx="11293703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6385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1629937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39FA5BD-A201-4EBC-8573-6D24DD8949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3971838" y="0"/>
            <a:ext cx="407396" cy="67183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986019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925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3587066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9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5EB9F2A-42A1-457A-AE2C-A7DFF65858E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001395" y="0"/>
            <a:ext cx="407396" cy="67183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007599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610114"/>
            <a:ext cx="6132692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1182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144706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5C6E2408-7555-4AB0-8F53-321AF5BAE71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8822326" y="0"/>
            <a:ext cx="407396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8827237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7915923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777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9158722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0097BD2B-B8E5-4D21-9D0D-4DEAAC0A03C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987246" y="-1282"/>
            <a:ext cx="7925354" cy="671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984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060456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D04E0859-B047-443B-BBF1-389CC6C8AAE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559196" y="0"/>
            <a:ext cx="407396" cy="67183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52413" y="0"/>
            <a:ext cx="5960186" cy="67183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59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icon</a:t>
            </a:r>
            <a:r>
              <a:rPr lang="ru-RU" dirty="0"/>
              <a:t> </a:t>
            </a:r>
            <a:r>
              <a:rPr lang="ru-RU" dirty="0" err="1"/>
              <a:t>below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insert</a:t>
            </a:r>
            <a:r>
              <a:rPr lang="ru-RU" dirty="0"/>
              <a:t> </a:t>
            </a:r>
            <a:r>
              <a:rPr lang="ru-RU" dirty="0" err="1"/>
              <a:t>an</a:t>
            </a:r>
            <a:r>
              <a:rPr lang="ru-RU" dirty="0"/>
              <a:t> </a:t>
            </a:r>
            <a:r>
              <a:rPr lang="ru-RU" dirty="0" err="1"/>
              <a:t>imag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remove</a:t>
            </a:r>
            <a:r>
              <a:rPr lang="ru-RU" dirty="0"/>
              <a:t> </a:t>
            </a:r>
            <a:r>
              <a:rPr lang="ru-RU" dirty="0" err="1"/>
              <a:t>this</a:t>
            </a:r>
            <a:r>
              <a:rPr lang="ru-RU" dirty="0"/>
              <a:t> </a:t>
            </a:r>
            <a:r>
              <a:rPr lang="ru-RU" dirty="0" err="1"/>
              <a:t>placeholder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use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whitespace</a:t>
            </a:r>
            <a:r>
              <a:rPr lang="ru-RU" dirty="0"/>
              <a:t> </a:t>
            </a:r>
            <a:r>
              <a:rPr lang="ru-RU" dirty="0" err="1"/>
              <a:t>in</a:t>
            </a:r>
            <a:r>
              <a:rPr lang="ru-RU" dirty="0"/>
              <a:t> </a:t>
            </a:r>
            <a:r>
              <a:rPr lang="ru-RU" dirty="0" err="1"/>
              <a:t>another</a:t>
            </a:r>
            <a:r>
              <a:rPr lang="ru-RU" dirty="0"/>
              <a:t> </a:t>
            </a:r>
            <a:r>
              <a:rPr lang="ru-RU" dirty="0" err="1"/>
              <a:t>way</a:t>
            </a:r>
            <a:endParaRPr lang="ru-RU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2" y="1749227"/>
            <a:ext cx="4287833" cy="321984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9679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508449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C373ABD-BB29-4E34-A8BD-2D9A7B407BF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240040" y="0"/>
            <a:ext cx="407396" cy="67183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640346" y="0"/>
            <a:ext cx="4272255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40817" y="0"/>
            <a:ext cx="4271784" cy="67183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3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icon</a:t>
            </a:r>
            <a:r>
              <a:rPr lang="ru-RU" dirty="0"/>
              <a:t> </a:t>
            </a:r>
            <a:r>
              <a:rPr lang="ru-RU" dirty="0" err="1"/>
              <a:t>below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insert</a:t>
            </a:r>
            <a:r>
              <a:rPr lang="ru-RU" dirty="0"/>
              <a:t> </a:t>
            </a:r>
            <a:r>
              <a:rPr lang="ru-RU" dirty="0" err="1"/>
              <a:t>an</a:t>
            </a:r>
            <a:r>
              <a:rPr lang="ru-RU" dirty="0"/>
              <a:t> </a:t>
            </a:r>
            <a:r>
              <a:rPr lang="ru-RU" dirty="0" err="1"/>
              <a:t>imag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remove</a:t>
            </a:r>
            <a:r>
              <a:rPr lang="ru-RU" dirty="0"/>
              <a:t> </a:t>
            </a:r>
            <a:r>
              <a:rPr lang="ru-RU" dirty="0" err="1"/>
              <a:t>this</a:t>
            </a:r>
            <a:r>
              <a:rPr lang="ru-RU" dirty="0"/>
              <a:t> </a:t>
            </a:r>
            <a:r>
              <a:rPr lang="ru-RU" dirty="0" err="1"/>
              <a:t>placeholder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use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whitespace</a:t>
            </a:r>
            <a:r>
              <a:rPr lang="ru-RU" dirty="0"/>
              <a:t> </a:t>
            </a:r>
            <a:r>
              <a:rPr lang="ru-RU" dirty="0" err="1"/>
              <a:t>in</a:t>
            </a:r>
            <a:r>
              <a:rPr lang="ru-RU" dirty="0"/>
              <a:t> </a:t>
            </a:r>
            <a:r>
              <a:rPr lang="ru-RU" dirty="0" err="1"/>
              <a:t>another</a:t>
            </a:r>
            <a:r>
              <a:rPr lang="ru-RU" dirty="0"/>
              <a:t> </a:t>
            </a:r>
            <a:r>
              <a:rPr lang="ru-RU" dirty="0" err="1"/>
              <a:t>way</a:t>
            </a:r>
            <a:endParaRPr lang="ru-RU" dirty="0"/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16477" y="1749227"/>
            <a:ext cx="6104379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3142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771230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9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63D737AF-325D-449E-ADD0-2672A25FC09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>
                <a:solidFill>
                  <a:schemeClr val="tx2"/>
                </a:solidFill>
              </a:rPr>
              <a:t>Click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to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add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title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0657" y="3517261"/>
            <a:ext cx="1333963" cy="3314050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0637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7354313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EDDC92F-89DF-4954-9DDC-76AB26DA2FF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685" y="3516484"/>
            <a:ext cx="1333963" cy="3314050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4022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18124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CB21C780-EDD9-465E-AD64-01EE1DEE7C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24807" y="3333512"/>
            <a:ext cx="2632913" cy="339122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7097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8807869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0B00E17D-1815-4D2E-AA65-F75F729E038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6532" y="3325247"/>
            <a:ext cx="1268816" cy="349911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2293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1189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95A4EDC-8923-4BDE-B2C0-7581A00C5A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96062" y="3346709"/>
            <a:ext cx="2632913" cy="3371591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571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217426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EB8F41F-7ACE-4CCE-9884-01E058623DC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4639018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4106" y="3516484"/>
            <a:ext cx="1333963" cy="3314050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2958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7499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B880A09B-01DB-4A5A-96B7-B651305E99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4639018" cy="325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357960" y="3338385"/>
            <a:ext cx="2632913" cy="33861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4559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8603688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26D87421-42C0-49A2-8B63-3111F8B00EE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6111164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8685" y="3516484"/>
            <a:ext cx="1333963" cy="3314050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3426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18148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8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CC7A457-413B-4685-A744-138601933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6111164" cy="325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417120" y="3338385"/>
            <a:ext cx="2632913" cy="33861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9899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7884225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8EB0A45-56B1-4402-BC6E-171F286DD61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810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08284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9DF657E-3EEF-49DD-9750-815BFFA9CD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5562" y="612734"/>
            <a:ext cx="911314" cy="913689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21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419281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640707" y="112134"/>
            <a:ext cx="753587" cy="979020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1912600" cy="574781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89345" tIns="44672" rIns="89345" bIns="44672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ru-RU" sz="2247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951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3338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7D1B071-2A64-4EC7-B3EB-F5E1910E05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17120" y="3338385"/>
            <a:ext cx="2632913" cy="33861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67489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63992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7BF435DA-258C-42F8-A8C7-696C9A8E1D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106826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423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843037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5562" y="2548738"/>
            <a:ext cx="2915672" cy="16792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4"/>
              </a:spcAft>
              <a:buFontTx/>
              <a:buNone/>
            </a:pP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</a:t>
            </a:r>
            <a:r>
              <a:rPr lang="ru-RU" sz="5276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of</a:t>
            </a:r>
            <a:r>
              <a:rPr lang="ru-RU" sz="5276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contents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7398" y="3513685"/>
            <a:ext cx="1333963" cy="3314050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1950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8115474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06330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54616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09867AA-E134-4064-9916-8551FD08B4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15FCFB-7F98-4213-90DB-B6206A574D41}"/>
              </a:ext>
            </a:extLst>
          </p:cNvPr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pic>
        <p:nvPicPr>
          <p:cNvPr id="9" name="Picture 36">
            <a:extLst>
              <a:ext uri="{FF2B5EF4-FFF2-40B4-BE49-F238E27FC236}">
                <a16:creationId xmlns:a16="http://schemas.microsoft.com/office/drawing/2014/main" id="{BEE01E99-5C6F-4119-8217-420D2E86800D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 t="571" r="55" b="32592"/>
          <a:stretch/>
        </p:blipFill>
        <p:spPr>
          <a:xfrm>
            <a:off x="11106435" y="104891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10" name="Title 7">
            <a:extLst>
              <a:ext uri="{FF2B5EF4-FFF2-40B4-BE49-F238E27FC236}">
                <a16:creationId xmlns:a16="http://schemas.microsoft.com/office/drawing/2014/main" id="{8D62D5ED-39BC-4100-BE10-089EB080B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562" y="403266"/>
            <a:ext cx="102830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23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4760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D3F64D94-8055-41C2-AB4C-15B3E5937B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9B5956CC-C084-45A1-8F5E-116EC48C893A}"/>
              </a:ext>
            </a:extLst>
          </p:cNvPr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pic>
        <p:nvPicPr>
          <p:cNvPr id="7" name="Picture 36">
            <a:extLst>
              <a:ext uri="{FF2B5EF4-FFF2-40B4-BE49-F238E27FC236}">
                <a16:creationId xmlns:a16="http://schemas.microsoft.com/office/drawing/2014/main" id="{5A9CACCC-DFB7-4DA5-BBC0-7228B1EB6BBC}"/>
              </a:ext>
            </a:extLst>
          </p:cNvPr>
          <p:cNvPicPr preferRelativeResize="0"/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 t="571" r="55" b="32592"/>
          <a:stretch/>
        </p:blipFill>
        <p:spPr>
          <a:xfrm>
            <a:off x="11106435" y="104891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5072E9FF-11CB-4BC7-99F5-365E224C57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5562" y="403266"/>
            <a:ext cx="102830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30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49637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4779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8672006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56334" y="4595626"/>
            <a:ext cx="908040" cy="975588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451973" y="4595626"/>
            <a:ext cx="1534169" cy="1438269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8689" tIns="175875" rIns="178689" bIns="1786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>
              <a:lnSpc>
                <a:spcPct val="95000"/>
              </a:lnSpc>
            </a:pPr>
            <a:endParaRPr lang="ru-RU" sz="1173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15563" y="888719"/>
            <a:ext cx="3369765" cy="35155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97975" tIns="457275" rIns="0" bIns="0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586"/>
              </a:spcAft>
            </a:pP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54983" y="1092694"/>
            <a:ext cx="2690222" cy="8638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5276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5276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475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067878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55748" y="2613260"/>
            <a:ext cx="9398760" cy="3135207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6133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117668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15563" y="610113"/>
            <a:ext cx="7025227" cy="4613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3322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322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04715" y="1181433"/>
            <a:ext cx="11311014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4909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901406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987246" y="-1282"/>
            <a:ext cx="7925354" cy="67195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15563" y="3142373"/>
            <a:ext cx="1511688" cy="4341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3127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127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8418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6568336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925BC007-6295-4E52-AFA3-DDCB7DDCF4E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562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959683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56334" y="4595626"/>
            <a:ext cx="908040" cy="975588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451973" y="4595626"/>
            <a:ext cx="1534169" cy="1438269"/>
          </a:xfrm>
          <a:prstGeom prst="rect">
            <a:avLst/>
          </a:prstGeom>
          <a:noFill/>
          <a:ln w="9525" cmpd="sng">
            <a:solidFill>
              <a:srgbClr val="6E6F7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8689" tIns="175875" rIns="178689" bIns="1786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>
              <a:lnSpc>
                <a:spcPct val="95000"/>
              </a:lnSpc>
            </a:pPr>
            <a:endParaRPr lang="ru-RU" sz="1173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5563" y="888718"/>
            <a:ext cx="3369765" cy="3540383"/>
          </a:xfrm>
          <a:prstGeom prst="rect">
            <a:avLst/>
          </a:prstGeom>
          <a:noFill/>
          <a:ln>
            <a:solidFill>
              <a:srgbClr val="6E6F73"/>
            </a:solidFill>
          </a:ln>
        </p:spPr>
        <p:txBody>
          <a:bodyPr wrap="square" lIns="597975" tIns="457275" rIns="0" bIns="0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586"/>
              </a:spcAft>
            </a:pPr>
            <a:endParaRPr lang="ru-RU" sz="5276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54983" y="1092694"/>
            <a:ext cx="2690221" cy="8638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5168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46235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55748" y="2613260"/>
            <a:ext cx="9398760" cy="3135207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5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80204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15563" y="610113"/>
            <a:ext cx="7025227" cy="4613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3322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322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04715" y="1181433"/>
            <a:ext cx="11311014" cy="0"/>
          </a:xfrm>
          <a:prstGeom prst="line">
            <a:avLst/>
          </a:prstGeom>
          <a:ln w="9525" cmpd="sng">
            <a:solidFill>
              <a:srgbClr val="6E6F7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9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090597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987246" y="-1282"/>
            <a:ext cx="7925354" cy="671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15563" y="3195694"/>
            <a:ext cx="1134440" cy="3256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2345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2345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367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412229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5562" y="2548738"/>
            <a:ext cx="3100034" cy="16792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4"/>
              </a:spcAft>
              <a:buFontTx/>
              <a:buNone/>
            </a:pP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</a:t>
            </a:r>
            <a:r>
              <a:rPr lang="ru-RU" sz="5276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of</a:t>
            </a:r>
            <a:r>
              <a:rPr lang="ru-RU" sz="5276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contents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7398" y="3513685"/>
            <a:ext cx="1333963" cy="3314050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2738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FD056E71-A721-4562-B645-E691F4A6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83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FD056E71-A721-4562-B645-E691F4A6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25" name="Текст заголовка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2903790"/>
      </p:ext>
    </p:extLst>
  </p:cSld>
  <p:clrMapOvr>
    <a:masterClrMapping/>
  </p:clrMapOvr>
  <p:transition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3951E0D-C405-4BEB-86A8-598D0815FA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070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9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3951E0D-C405-4BEB-86A8-598D0815F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33" name="Rectangle 7"/>
          <p:cNvSpPr/>
          <p:nvPr/>
        </p:nvSpPr>
        <p:spPr>
          <a:xfrm>
            <a:off x="1" y="-1283"/>
            <a:ext cx="4586820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34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1512816"/>
            <a:ext cx="3373283" cy="1465325"/>
          </a:xfrm>
          <a:prstGeom prst="rect">
            <a:avLst/>
          </a:prstGeom>
        </p:spPr>
        <p:txBody>
          <a:bodyPr anchor="b"/>
          <a:lstStyle>
            <a:lvl1pPr>
              <a:defRPr sz="3127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7315164"/>
      </p:ext>
    </p:extLst>
  </p:cSld>
  <p:clrMapOvr>
    <a:masterClrMapping/>
  </p:clrMapOvr>
  <p:transition spd="med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 box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29631F2-9184-4EF7-B975-1D1D8BDA38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155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29631F2-9184-4EF7-B975-1D1D8BDA3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1255300" y="2613692"/>
            <a:ext cx="9400022" cy="3135820"/>
          </a:xfrm>
          <a:prstGeom prst="rect">
            <a:avLst/>
          </a:prstGeom>
          <a:ln w="9525">
            <a:solidFill>
              <a:srgbClr val="9B9B9B"/>
            </a:solidFill>
            <a:round/>
          </a:ln>
        </p:spPr>
        <p:txBody>
          <a:bodyPr lIns="137160" tIns="137160" rIns="137160" bIns="137160" anchor="b"/>
          <a:lstStyle>
            <a:lvl1pPr>
              <a:lnSpc>
                <a:spcPts val="5863"/>
              </a:lnSpc>
              <a:defRPr sz="5276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4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43" name="Rectangle 58"/>
          <p:cNvSpPr/>
          <p:nvPr/>
        </p:nvSpPr>
        <p:spPr>
          <a:xfrm>
            <a:off x="1255301" y="1399040"/>
            <a:ext cx="925955" cy="928369"/>
          </a:xfrm>
          <a:prstGeom prst="rect">
            <a:avLst/>
          </a:prstGeom>
          <a:ln w="10795">
            <a:solidFill>
              <a:srgbClr val="9B9B9B"/>
            </a:solidFill>
            <a:miter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</p:spTree>
    <p:extLst>
      <p:ext uri="{BB962C8B-B14F-4D97-AF65-F5344CB8AC3E}">
        <p14:creationId xmlns:p14="http://schemas.microsoft.com/office/powerpoint/2010/main" val="2557816646"/>
      </p:ext>
    </p:extLst>
  </p:cSld>
  <p:clrMapOvr>
    <a:masterClrMapping/>
  </p:clrMapOvr>
  <p:transition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 line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BC889B98-8049-4175-8BF5-FF017B6528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263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BC889B98-8049-4175-8BF5-FF017B6528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5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3748847"/>
            <a:ext cx="10686165" cy="1999621"/>
          </a:xfrm>
          <a:prstGeom prst="rect">
            <a:avLst/>
          </a:prstGeom>
        </p:spPr>
        <p:txBody>
          <a:bodyPr anchor="t"/>
          <a:lstStyle>
            <a:lvl1pPr>
              <a:defRPr sz="5276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52" name="Straight Connector 147"/>
          <p:cNvSpPr/>
          <p:nvPr/>
        </p:nvSpPr>
        <p:spPr>
          <a:xfrm>
            <a:off x="604714" y="3605053"/>
            <a:ext cx="11311016" cy="1"/>
          </a:xfrm>
          <a:prstGeom prst="line">
            <a:avLst/>
          </a:prstGeom>
          <a:ln w="19050">
            <a:solidFill>
              <a:srgbClr val="9B9B9B"/>
            </a:solidFill>
            <a:miter/>
          </a:ln>
        </p:spPr>
        <p:txBody>
          <a:bodyPr lIns="44671" rIns="44671"/>
          <a:lstStyle/>
          <a:p>
            <a:pPr eaLnBrk="1"/>
            <a:endParaRPr lang="ru-RU" sz="2247" dirty="0"/>
          </a:p>
        </p:txBody>
      </p:sp>
    </p:spTree>
    <p:extLst>
      <p:ext uri="{BB962C8B-B14F-4D97-AF65-F5344CB8AC3E}">
        <p14:creationId xmlns:p14="http://schemas.microsoft.com/office/powerpoint/2010/main" val="169032105"/>
      </p:ext>
    </p:extLst>
  </p:cSld>
  <p:clrMapOvr>
    <a:masterClrMapping/>
  </p:clrMapOvr>
  <p:transition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E1A26C1-3A38-4DFF-9B2A-BBD741BD1C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72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6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0E1A26C1-3A38-4DFF-9B2A-BBD741BD1C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" name="Picture 15" descr="Picture 15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rot="10800000" flipH="1">
            <a:off x="3971838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6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61" name="Rectangle 25"/>
          <p:cNvSpPr/>
          <p:nvPr/>
        </p:nvSpPr>
        <p:spPr>
          <a:xfrm>
            <a:off x="0" y="0"/>
            <a:ext cx="3986019" cy="67183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6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/>
          <a:lstStyle>
            <a:lvl1pPr>
              <a:defRPr sz="3127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742568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68179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89CB533E-4864-4795-B0B1-2B0419ABBD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335426"/>
            <a:ext cx="10694316" cy="46130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pic>
        <p:nvPicPr>
          <p:cNvPr id="9" name="Picture 8"/>
          <p:cNvPicPr preferRelativeResize="0"/>
          <p:nvPr userDrawn="1"/>
        </p:nvPicPr>
        <p:blipFill rotWithShape="1">
          <a:blip r:embed="rId8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52663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518562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A3371771-FF75-4FB1-8DFD-84E42F28B3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5562" y="612734"/>
            <a:ext cx="911314" cy="913689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634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7CB1758B-4A25-447C-A1C1-AC4B00BAAD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6797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7CB1758B-4A25-447C-A1C1-AC4B00BAAD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9" descr="Picture 9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rot="10800000" flipH="1">
            <a:off x="7001394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70" name="Rectangle 12"/>
          <p:cNvSpPr/>
          <p:nvPr/>
        </p:nvSpPr>
        <p:spPr>
          <a:xfrm>
            <a:off x="-1" y="0"/>
            <a:ext cx="7007601" cy="6718300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7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7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4"/>
            <a:ext cx="6113415" cy="461307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4772286"/>
      </p:ext>
    </p:extLst>
  </p:cSld>
  <p:clrMapOvr>
    <a:masterClrMapping/>
  </p:clrMapOvr>
  <p:transition spd="med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DAF1B7F0-53F9-4CAC-B8F3-5C1CA1251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6847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1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DAF1B7F0-53F9-4CAC-B8F3-5C1CA12516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9" name="Picture 9" descr="Picture 9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flipH="1">
            <a:off x="3586939" y="0"/>
            <a:ext cx="407397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80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/>
          <a:lstStyle>
            <a:lvl1pPr>
              <a:defRPr sz="3127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81" name="Rectangle 12"/>
          <p:cNvSpPr/>
          <p:nvPr/>
        </p:nvSpPr>
        <p:spPr>
          <a:xfrm>
            <a:off x="3987245" y="-1283"/>
            <a:ext cx="7925354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8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6068027"/>
      </p:ext>
    </p:extLst>
  </p:cSld>
  <p:clrMapOvr>
    <a:masterClrMapping/>
  </p:clrMapOvr>
  <p:transition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B8942E8-39B9-4292-AEA6-B2F754F95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334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B8942E8-39B9-4292-AEA6-B2F754F95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9" name="Picture 10" descr="Picture 10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flipH="1">
            <a:off x="5559196" y="0"/>
            <a:ext cx="407397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90" name="Rectangle 11"/>
          <p:cNvSpPr/>
          <p:nvPr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rgbClr val="EEEEEE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91" name="Picture Placeholder 18"/>
          <p:cNvSpPr>
            <a:spLocks noGrp="1"/>
          </p:cNvSpPr>
          <p:nvPr>
            <p:ph type="pic" idx="13"/>
          </p:nvPr>
        </p:nvSpPr>
        <p:spPr>
          <a:xfrm>
            <a:off x="5952412" y="0"/>
            <a:ext cx="5960187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9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2" y="1749226"/>
            <a:ext cx="4287833" cy="3219849"/>
          </a:xfrm>
          <a:prstGeom prst="rect">
            <a:avLst/>
          </a:prstGeom>
        </p:spPr>
        <p:txBody>
          <a:bodyPr/>
          <a:lstStyle>
            <a:lvl1pPr>
              <a:defRPr sz="4299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9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9680088"/>
      </p:ext>
    </p:extLst>
  </p:cSld>
  <p:clrMapOvr>
    <a:masterClrMapping/>
  </p:clrMapOvr>
  <p:transition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CCF6463-BFE8-4205-AED6-375D1BF416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626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CCF6463-BFE8-4205-AED6-375D1BF416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0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flipH="1">
            <a:off x="7240039" y="0"/>
            <a:ext cx="407397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101" name="Rectangle 9"/>
          <p:cNvSpPr/>
          <p:nvPr/>
        </p:nvSpPr>
        <p:spPr>
          <a:xfrm>
            <a:off x="7640344" y="0"/>
            <a:ext cx="4272256" cy="6718300"/>
          </a:xfrm>
          <a:prstGeom prst="rect">
            <a:avLst/>
          </a:prstGeom>
          <a:solidFill>
            <a:srgbClr val="EEEEEE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102" name="Picture Placeholder 5"/>
          <p:cNvSpPr>
            <a:spLocks noGrp="1"/>
          </p:cNvSpPr>
          <p:nvPr>
            <p:ph type="pic" sz="half" idx="13"/>
          </p:nvPr>
        </p:nvSpPr>
        <p:spPr>
          <a:xfrm>
            <a:off x="7640817" y="0"/>
            <a:ext cx="4271784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103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1767887"/>
            <a:ext cx="6104380" cy="3219849"/>
          </a:xfrm>
          <a:prstGeom prst="rect">
            <a:avLst/>
          </a:prstGeom>
        </p:spPr>
        <p:txBody>
          <a:bodyPr/>
          <a:lstStyle>
            <a:lvl1pPr>
              <a:defRPr sz="4299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10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4529531"/>
      </p:ext>
    </p:extLst>
  </p:cSld>
  <p:clrMapOvr>
    <a:masterClrMapping/>
  </p:clrMapOvr>
  <p:transition spd="med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3D20145C-5CA4-4349-BD81-E64169E884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516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8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3D20145C-5CA4-4349-BD81-E64169E88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Freeform 14"/>
          <p:cNvSpPr/>
          <p:nvPr/>
        </p:nvSpPr>
        <p:spPr>
          <a:xfrm>
            <a:off x="1488" y="1284"/>
            <a:ext cx="3994623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11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113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2707894"/>
            <a:ext cx="2421837" cy="1287539"/>
          </a:xfrm>
          <a:prstGeom prst="rect">
            <a:avLst/>
          </a:prstGeom>
        </p:spPr>
        <p:txBody>
          <a:bodyPr/>
          <a:lstStyle>
            <a:lvl1pPr>
              <a:defRPr sz="3127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pic>
        <p:nvPicPr>
          <p:cNvPr id="114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3060656" y="3517262"/>
            <a:ext cx="1333964" cy="3314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9063"/>
                </a:lnTo>
                <a:lnTo>
                  <a:pt x="14385" y="0"/>
                </a:lnTo>
                <a:lnTo>
                  <a:pt x="0" y="0"/>
                </a:lnTo>
                <a:close/>
                <a:moveTo>
                  <a:pt x="14549" y="0"/>
                </a:moveTo>
                <a:lnTo>
                  <a:pt x="2053" y="20863"/>
                </a:lnTo>
                <a:lnTo>
                  <a:pt x="0" y="20845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49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11303057"/>
      </p:ext>
    </p:extLst>
  </p:cSld>
  <p:clrMapOvr>
    <a:masterClrMapping/>
  </p:clrMapOvr>
  <p:transition spd="med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4303F7B-0E14-4008-AA05-599E9C950C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27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4303F7B-0E14-4008-AA05-599E9C950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Freeform 14"/>
          <p:cNvSpPr/>
          <p:nvPr/>
        </p:nvSpPr>
        <p:spPr>
          <a:xfrm>
            <a:off x="-1" y="0"/>
            <a:ext cx="3994623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12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2707894"/>
            <a:ext cx="2421837" cy="1287539"/>
          </a:xfrm>
          <a:prstGeom prst="rect">
            <a:avLst/>
          </a:prstGeom>
        </p:spPr>
        <p:txBody>
          <a:bodyPr/>
          <a:lstStyle>
            <a:lvl1pPr>
              <a:defRPr sz="3127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1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124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rcRect t="6216" b="7711"/>
          <a:stretch>
            <a:fillRect/>
          </a:stretch>
        </p:blipFill>
        <p:spPr>
          <a:xfrm rot="120000">
            <a:off x="2124803" y="3333510"/>
            <a:ext cx="2632914" cy="33914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213" y="21600"/>
                </a:lnTo>
                <a:lnTo>
                  <a:pt x="14805" y="77"/>
                </a:lnTo>
                <a:lnTo>
                  <a:pt x="15187" y="37"/>
                </a:lnTo>
                <a:lnTo>
                  <a:pt x="13399" y="21523"/>
                </a:lnTo>
                <a:lnTo>
                  <a:pt x="10625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36495357"/>
      </p:ext>
    </p:extLst>
  </p:cSld>
  <p:clrMapOvr>
    <a:masterClrMapping/>
  </p:clrMapOvr>
  <p:transition spd="med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68121289-98EC-48E0-9B08-CCA9B4B68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360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68121289-98EC-48E0-9B08-CCA9B4B68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132" name="Pentagon 3"/>
          <p:cNvSpPr/>
          <p:nvPr/>
        </p:nvSpPr>
        <p:spPr>
          <a:xfrm>
            <a:off x="1" y="0"/>
            <a:ext cx="5302553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133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1749226"/>
            <a:ext cx="3969143" cy="3219849"/>
          </a:xfrm>
          <a:prstGeom prst="rect">
            <a:avLst/>
          </a:prstGeom>
        </p:spPr>
        <p:txBody>
          <a:bodyPr/>
          <a:lstStyle>
            <a:lvl1pPr>
              <a:defRPr sz="4299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pic>
        <p:nvPicPr>
          <p:cNvPr id="134" name="Picture 14" descr="Picture 14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4476532" y="3325247"/>
            <a:ext cx="1268816" cy="34991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5982"/>
                </a:lnTo>
                <a:lnTo>
                  <a:pt x="13995" y="132"/>
                </a:lnTo>
                <a:lnTo>
                  <a:pt x="2324" y="20964"/>
                </a:lnTo>
                <a:lnTo>
                  <a:pt x="0" y="20957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68064781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D6357FF5-04DE-4E85-B3F6-36AB5C1020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394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D6357FF5-04DE-4E85-B3F6-36AB5C102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Pentagon 3"/>
          <p:cNvSpPr/>
          <p:nvPr/>
        </p:nvSpPr>
        <p:spPr>
          <a:xfrm>
            <a:off x="1" y="0"/>
            <a:ext cx="5302553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14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1749226"/>
            <a:ext cx="3969143" cy="3219849"/>
          </a:xfrm>
          <a:prstGeom prst="rect">
            <a:avLst/>
          </a:prstGeom>
        </p:spPr>
        <p:txBody>
          <a:bodyPr/>
          <a:lstStyle>
            <a:lvl1pPr>
              <a:defRPr sz="4299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14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144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rcRect t="7562" b="6866"/>
          <a:stretch>
            <a:fillRect/>
          </a:stretch>
        </p:blipFill>
        <p:spPr>
          <a:xfrm>
            <a:off x="3496062" y="3346708"/>
            <a:ext cx="2632914" cy="3371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71" y="21600"/>
                </a:lnTo>
                <a:lnTo>
                  <a:pt x="14267" y="2277"/>
                </a:lnTo>
                <a:lnTo>
                  <a:pt x="14245" y="2277"/>
                </a:lnTo>
                <a:lnTo>
                  <a:pt x="14818" y="80"/>
                </a:lnTo>
                <a:lnTo>
                  <a:pt x="14799" y="0"/>
                </a:lnTo>
                <a:lnTo>
                  <a:pt x="0" y="0"/>
                </a:lnTo>
                <a:close/>
                <a:moveTo>
                  <a:pt x="16351" y="0"/>
                </a:moveTo>
                <a:lnTo>
                  <a:pt x="16211" y="2381"/>
                </a:lnTo>
                <a:lnTo>
                  <a:pt x="14563" y="2294"/>
                </a:lnTo>
                <a:lnTo>
                  <a:pt x="12111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351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17090139"/>
      </p:ext>
    </p:extLst>
  </p:cSld>
  <p:clrMapOvr>
    <a:masterClrMapping/>
  </p:clrMapOvr>
  <p:transition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F1079EA-30C4-4B2F-8D7C-FDAE906D6D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038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F1079EA-30C4-4B2F-8D7C-FDAE906D6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152" name="Pentagon 8"/>
          <p:cNvSpPr/>
          <p:nvPr/>
        </p:nvSpPr>
        <p:spPr>
          <a:xfrm>
            <a:off x="-1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153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4"/>
            <a:ext cx="4566543" cy="461307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pic>
        <p:nvPicPr>
          <p:cNvPr id="154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5274107" y="3516485"/>
            <a:ext cx="1333964" cy="3314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455"/>
                </a:lnTo>
                <a:lnTo>
                  <a:pt x="14367" y="0"/>
                </a:lnTo>
                <a:lnTo>
                  <a:pt x="0" y="0"/>
                </a:lnTo>
                <a:close/>
                <a:moveTo>
                  <a:pt x="14567" y="0"/>
                </a:moveTo>
                <a:lnTo>
                  <a:pt x="2003" y="21202"/>
                </a:lnTo>
                <a:lnTo>
                  <a:pt x="0" y="21202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67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66218984"/>
      </p:ext>
    </p:extLst>
  </p:cSld>
  <p:clrMapOvr>
    <a:masterClrMapping/>
  </p:clrMapOvr>
  <p:transition spd="med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ED4B9895-40EE-4469-B53D-EEF2EBF57C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10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ED4B9895-40EE-4469-B53D-EEF2EBF57C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1" name="Pentagon 8"/>
          <p:cNvSpPr/>
          <p:nvPr/>
        </p:nvSpPr>
        <p:spPr>
          <a:xfrm>
            <a:off x="-1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16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4"/>
            <a:ext cx="4566543" cy="461307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16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164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rcRect t="9052" b="6871"/>
          <a:stretch>
            <a:fillRect/>
          </a:stretch>
        </p:blipFill>
        <p:spPr>
          <a:xfrm rot="120000">
            <a:off x="4357962" y="3338385"/>
            <a:ext cx="2632914" cy="33859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59" y="21600"/>
                </a:lnTo>
                <a:lnTo>
                  <a:pt x="14761" y="0"/>
                </a:lnTo>
                <a:lnTo>
                  <a:pt x="0" y="0"/>
                </a:lnTo>
                <a:close/>
                <a:moveTo>
                  <a:pt x="17124" y="0"/>
                </a:moveTo>
                <a:lnTo>
                  <a:pt x="15346" y="2664"/>
                </a:lnTo>
                <a:lnTo>
                  <a:pt x="14885" y="2703"/>
                </a:lnTo>
                <a:lnTo>
                  <a:pt x="15686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7124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8081623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809571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40707" y="112134"/>
            <a:ext cx="753587" cy="979020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1912600" cy="574781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89345" tIns="44672" rIns="89345" bIns="44672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ru-RU" sz="2247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65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31FDC2C-5187-411C-81CD-36CF25613B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1445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31FDC2C-5187-411C-81CD-36CF25613B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1" name="Freeform 18"/>
          <p:cNvSpPr/>
          <p:nvPr/>
        </p:nvSpPr>
        <p:spPr>
          <a:xfrm>
            <a:off x="1" y="0"/>
            <a:ext cx="8252679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17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173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4"/>
            <a:ext cx="6113415" cy="461307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pic>
        <p:nvPicPr>
          <p:cNvPr id="174" name="Picture 15" descr="Picture 15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7318685" y="3516485"/>
            <a:ext cx="1333964" cy="3314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2026"/>
                </a:lnTo>
                <a:lnTo>
                  <a:pt x="13494" y="0"/>
                </a:lnTo>
                <a:lnTo>
                  <a:pt x="0" y="0"/>
                </a:lnTo>
                <a:close/>
                <a:moveTo>
                  <a:pt x="14090" y="0"/>
                </a:moveTo>
                <a:lnTo>
                  <a:pt x="13776" y="547"/>
                </a:lnTo>
                <a:lnTo>
                  <a:pt x="14203" y="0"/>
                </a:lnTo>
                <a:lnTo>
                  <a:pt x="14090" y="0"/>
                </a:lnTo>
                <a:close/>
                <a:moveTo>
                  <a:pt x="14423" y="0"/>
                </a:moveTo>
                <a:lnTo>
                  <a:pt x="2053" y="21506"/>
                </a:lnTo>
                <a:lnTo>
                  <a:pt x="1764" y="21506"/>
                </a:lnTo>
                <a:lnTo>
                  <a:pt x="1708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423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76589245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F6711063-1E81-467F-BCC6-612BA91E9F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0974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5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F6711063-1E81-467F-BCC6-612BA91E9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1" name="Freeform 18"/>
          <p:cNvSpPr/>
          <p:nvPr/>
        </p:nvSpPr>
        <p:spPr>
          <a:xfrm>
            <a:off x="1" y="0"/>
            <a:ext cx="8252679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18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4"/>
            <a:ext cx="6113415" cy="461307"/>
          </a:xfrm>
          <a:prstGeom prst="rect">
            <a:avLst/>
          </a:prstGeom>
        </p:spPr>
        <p:txBody>
          <a:bodyPr anchor="t"/>
          <a:lstStyle>
            <a:lvl1pPr>
              <a:defRPr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18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184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rcRect t="9052" b="6871"/>
          <a:stretch>
            <a:fillRect/>
          </a:stretch>
        </p:blipFill>
        <p:spPr>
          <a:xfrm rot="120000">
            <a:off x="6417122" y="3338385"/>
            <a:ext cx="2632914" cy="33859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27" y="21600"/>
                </a:lnTo>
                <a:lnTo>
                  <a:pt x="14633" y="0"/>
                </a:lnTo>
                <a:lnTo>
                  <a:pt x="0" y="0"/>
                </a:lnTo>
                <a:close/>
                <a:moveTo>
                  <a:pt x="16577" y="0"/>
                </a:moveTo>
                <a:lnTo>
                  <a:pt x="11503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577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94698441"/>
      </p:ext>
    </p:extLst>
  </p:cSld>
  <p:clrMapOvr>
    <a:masterClrMapping/>
  </p:clrMapOvr>
  <p:transition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C164CE5-418A-405D-892D-A1FDCA7898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540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0C164CE5-418A-405D-892D-A1FDCA789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19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3748390"/>
            <a:ext cx="10682648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863"/>
              </a:lnSpc>
              <a:defRPr sz="5276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9846327"/>
      </p:ext>
    </p:extLst>
  </p:cSld>
  <p:clrMapOvr>
    <a:masterClrMapping/>
  </p:clrMapOvr>
  <p:transition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3F07FEF5-0313-4E39-A3DD-25FC045C36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347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3F07FEF5-0313-4E39-A3DD-25FC045C3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200" name="Rectangle 5"/>
          <p:cNvSpPr/>
          <p:nvPr/>
        </p:nvSpPr>
        <p:spPr>
          <a:xfrm>
            <a:off x="615563" y="612734"/>
            <a:ext cx="911315" cy="913690"/>
          </a:xfrm>
          <a:prstGeom prst="rect">
            <a:avLst/>
          </a:prstGeom>
          <a:ln w="10795">
            <a:solidFill>
              <a:srgbClr val="888888"/>
            </a:solidFill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20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3748390"/>
            <a:ext cx="10682648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863"/>
              </a:lnSpc>
              <a:defRPr sz="5276" b="0">
                <a:solidFill>
                  <a:srgbClr val="888888"/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9993155"/>
      </p:ext>
    </p:extLst>
  </p:cSld>
  <p:clrMapOvr>
    <a:masterClrMapping/>
  </p:clrMapOvr>
  <p:transition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209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r="3648" b="1257"/>
          <a:stretch>
            <a:fillRect/>
          </a:stretch>
        </p:blipFill>
        <p:spPr>
          <a:xfrm rot="16200000" flipH="1">
            <a:off x="6640802" y="112037"/>
            <a:ext cx="753476" cy="97902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983"/>
                </a:lnTo>
                <a:lnTo>
                  <a:pt x="6085" y="2155"/>
                </a:lnTo>
                <a:lnTo>
                  <a:pt x="555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210" name="Freeform 58"/>
          <p:cNvSpPr/>
          <p:nvPr/>
        </p:nvSpPr>
        <p:spPr>
          <a:xfrm flipH="1">
            <a:off x="0" y="0"/>
            <a:ext cx="11912600" cy="57478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18208"/>
                </a:lnTo>
                <a:lnTo>
                  <a:pt x="16019" y="18208"/>
                </a:lnTo>
                <a:lnTo>
                  <a:pt x="17671" y="21600"/>
                </a:lnTo>
                <a:lnTo>
                  <a:pt x="17671" y="18208"/>
                </a:lnTo>
                <a:lnTo>
                  <a:pt x="21600" y="18208"/>
                </a:lnTo>
                <a:close/>
              </a:path>
            </a:pathLst>
          </a:custGeom>
          <a:solidFill>
            <a:srgbClr val="9A9A9A"/>
          </a:solidFill>
          <a:ln w="12700">
            <a:miter lim="400000"/>
          </a:ln>
        </p:spPr>
        <p:txBody>
          <a:bodyPr lIns="44671" rIns="44671"/>
          <a:lstStyle/>
          <a:p>
            <a:pPr eaLnBrk="1"/>
            <a:endParaRPr lang="ru-RU" sz="2247" dirty="0"/>
          </a:p>
        </p:txBody>
      </p:sp>
    </p:spTree>
    <p:extLst>
      <p:ext uri="{BB962C8B-B14F-4D97-AF65-F5344CB8AC3E}">
        <p14:creationId xmlns:p14="http://schemas.microsoft.com/office/powerpoint/2010/main" val="1348979620"/>
      </p:ext>
    </p:extLst>
  </p:cSld>
  <p:clrMapOvr>
    <a:masterClrMapping/>
  </p:clrMapOvr>
  <p:transition spd="med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3BAED5A2-2674-4BE4-A4FB-F1F61B7B1B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95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2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3BAED5A2-2674-4BE4-A4FB-F1F61B7B1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30323" y="6274332"/>
            <a:ext cx="153888" cy="1503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218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4"/>
            <a:ext cx="10682648" cy="461307"/>
          </a:xfrm>
          <a:prstGeom prst="rect">
            <a:avLst/>
          </a:prstGeom>
        </p:spPr>
        <p:txBody>
          <a:bodyPr anchor="t"/>
          <a:lstStyle>
            <a:lvl1pPr>
              <a:defRPr b="0"/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9379608"/>
      </p:ext>
    </p:extLst>
  </p:cSld>
  <p:clrMapOvr>
    <a:masterClrMapping/>
  </p:clrMapOvr>
  <p:transition spd="med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5811923"/>
      </p:ext>
    </p:extLst>
  </p:cSld>
  <p:clrMapOvr>
    <a:masterClrMapping/>
  </p:clrMapOvr>
  <p:transition spd="med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30323" y="6274332"/>
            <a:ext cx="153888" cy="1503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944568"/>
      </p:ext>
    </p:extLst>
  </p:cSld>
  <p:clrMapOvr>
    <a:masterClrMapping/>
  </p:clrMapOvr>
  <p:transition spd="med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2726866"/>
      </p:ext>
    </p:extLst>
  </p:cSld>
  <p:clrMapOvr>
    <a:masterClrMapping/>
  </p:clrMapOvr>
  <p:transition spd="med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6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247" name="Rectangle 8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4671" rIns="44671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ru-RU" sz="2247" dirty="0"/>
          </a:p>
        </p:txBody>
      </p:sp>
      <p:pic>
        <p:nvPicPr>
          <p:cNvPr id="248" name="Shape 54" descr="Shape 5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33495" y="4957430"/>
            <a:ext cx="3923263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249" name="Shape 56" descr="Shape 5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01256" y="550596"/>
            <a:ext cx="1315864" cy="2541663"/>
          </a:xfrm>
          <a:prstGeom prst="rect">
            <a:avLst/>
          </a:prstGeom>
          <a:ln w="12700">
            <a:miter lim="400000"/>
          </a:ln>
        </p:spPr>
      </p:pic>
      <p:sp>
        <p:nvSpPr>
          <p:cNvPr id="2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5879" y="6090454"/>
            <a:ext cx="281485" cy="272830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173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0847912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50905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F89C1E9-3F7D-4B9E-B35B-8730CD4B95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10682648" cy="461306"/>
          </a:xfrm>
        </p:spPr>
        <p:txBody>
          <a:bodyPr/>
          <a:lstStyle>
            <a:lvl1pPr>
              <a:defRPr sz="3322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19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ayout gu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grpSp>
        <p:nvGrpSpPr>
          <p:cNvPr id="303" name="Group 48"/>
          <p:cNvGrpSpPr/>
          <p:nvPr/>
        </p:nvGrpSpPr>
        <p:grpSpPr>
          <a:xfrm>
            <a:off x="-588" y="-1"/>
            <a:ext cx="11914361" cy="6718302"/>
            <a:chOff x="-1" y="0"/>
            <a:chExt cx="12193801" cy="6858001"/>
          </a:xfrm>
        </p:grpSpPr>
        <p:sp>
          <p:nvSpPr>
            <p:cNvPr id="258" name="No fly zone"/>
            <p:cNvSpPr/>
            <p:nvPr/>
          </p:nvSpPr>
          <p:spPr>
            <a:xfrm>
              <a:off x="600" y="0"/>
              <a:ext cx="12193200" cy="685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6" y="1962"/>
                  </a:moveTo>
                  <a:lnTo>
                    <a:pt x="1116" y="19403"/>
                  </a:lnTo>
                  <a:lnTo>
                    <a:pt x="20482" y="19403"/>
                  </a:lnTo>
                  <a:lnTo>
                    <a:pt x="20482" y="1962"/>
                  </a:lnTo>
                  <a:close/>
                  <a:moveTo>
                    <a:pt x="0" y="0"/>
                  </a:moveTo>
                  <a:lnTo>
                    <a:pt x="21600" y="0"/>
                  </a:lnTo>
                  <a:lnTo>
                    <a:pt x="21600" y="1962"/>
                  </a:lnTo>
                  <a:lnTo>
                    <a:pt x="21598" y="1962"/>
                  </a:lnTo>
                  <a:lnTo>
                    <a:pt x="21598" y="19403"/>
                  </a:lnTo>
                  <a:lnTo>
                    <a:pt x="21600" y="19403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1962"/>
                  </a:lnTo>
                  <a:lnTo>
                    <a:pt x="0" y="1962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/>
              <a:endParaRPr lang="ru-RU" sz="2247" dirty="0"/>
            </a:p>
          </p:txBody>
        </p:sp>
        <p:grpSp>
          <p:nvGrpSpPr>
            <p:cNvPr id="279" name="Baselines / anchors"/>
            <p:cNvGrpSpPr/>
            <p:nvPr/>
          </p:nvGrpSpPr>
          <p:grpSpPr>
            <a:xfrm>
              <a:off x="0" y="622801"/>
              <a:ext cx="12193200" cy="5536800"/>
              <a:chOff x="0" y="0"/>
              <a:chExt cx="12193199" cy="5536799"/>
            </a:xfrm>
          </p:grpSpPr>
          <p:sp>
            <p:nvSpPr>
              <p:cNvPr id="259" name="Straight Connector 76"/>
              <p:cNvSpPr/>
              <p:nvPr/>
            </p:nvSpPr>
            <p:spPr>
              <a:xfrm>
                <a:off x="0" y="0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0" name="Straight Connector 77"/>
              <p:cNvSpPr/>
              <p:nvPr/>
            </p:nvSpPr>
            <p:spPr>
              <a:xfrm>
                <a:off x="0" y="291411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1" name="Straight Connector 78"/>
              <p:cNvSpPr/>
              <p:nvPr/>
            </p:nvSpPr>
            <p:spPr>
              <a:xfrm>
                <a:off x="0" y="582821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2" name="Straight Connector 79"/>
              <p:cNvSpPr/>
              <p:nvPr/>
            </p:nvSpPr>
            <p:spPr>
              <a:xfrm>
                <a:off x="0" y="874799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3" name="Straight Connector 80"/>
              <p:cNvSpPr/>
              <p:nvPr/>
            </p:nvSpPr>
            <p:spPr>
              <a:xfrm>
                <a:off x="0" y="1165643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4" name="Straight Connector 81"/>
              <p:cNvSpPr/>
              <p:nvPr/>
            </p:nvSpPr>
            <p:spPr>
              <a:xfrm>
                <a:off x="0" y="1457054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5" name="Straight Connector 82"/>
              <p:cNvSpPr/>
              <p:nvPr/>
            </p:nvSpPr>
            <p:spPr>
              <a:xfrm>
                <a:off x="0" y="1748465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6" name="Straight Connector 83"/>
              <p:cNvSpPr/>
              <p:nvPr/>
            </p:nvSpPr>
            <p:spPr>
              <a:xfrm>
                <a:off x="0" y="2039876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7" name="Straight Connector 84"/>
              <p:cNvSpPr/>
              <p:nvPr/>
            </p:nvSpPr>
            <p:spPr>
              <a:xfrm>
                <a:off x="0" y="2331287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8" name="Straight Connector 85"/>
              <p:cNvSpPr/>
              <p:nvPr/>
            </p:nvSpPr>
            <p:spPr>
              <a:xfrm>
                <a:off x="0" y="2622698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69" name="Straight Connector 86"/>
              <p:cNvSpPr/>
              <p:nvPr/>
            </p:nvSpPr>
            <p:spPr>
              <a:xfrm>
                <a:off x="0" y="2914109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70" name="Straight Connector 87"/>
              <p:cNvSpPr/>
              <p:nvPr/>
            </p:nvSpPr>
            <p:spPr>
              <a:xfrm>
                <a:off x="0" y="3205520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71" name="Straight Connector 88"/>
              <p:cNvSpPr/>
              <p:nvPr/>
            </p:nvSpPr>
            <p:spPr>
              <a:xfrm>
                <a:off x="0" y="3496931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72" name="Straight Connector 89"/>
              <p:cNvSpPr/>
              <p:nvPr/>
            </p:nvSpPr>
            <p:spPr>
              <a:xfrm>
                <a:off x="0" y="3788342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73" name="Straight Connector 90"/>
              <p:cNvSpPr/>
              <p:nvPr/>
            </p:nvSpPr>
            <p:spPr>
              <a:xfrm>
                <a:off x="0" y="4079753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74" name="Straight Connector 91"/>
              <p:cNvSpPr/>
              <p:nvPr/>
            </p:nvSpPr>
            <p:spPr>
              <a:xfrm>
                <a:off x="0" y="4371164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75" name="Straight Connector 133"/>
              <p:cNvSpPr/>
              <p:nvPr/>
            </p:nvSpPr>
            <p:spPr>
              <a:xfrm>
                <a:off x="0" y="4662575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76" name="Straight Connector 134"/>
              <p:cNvSpPr/>
              <p:nvPr/>
            </p:nvSpPr>
            <p:spPr>
              <a:xfrm>
                <a:off x="0" y="4953986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77" name="Straight Connector 135"/>
              <p:cNvSpPr/>
              <p:nvPr/>
            </p:nvSpPr>
            <p:spPr>
              <a:xfrm>
                <a:off x="0" y="5245397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78" name="Straight Connector 136"/>
              <p:cNvSpPr/>
              <p:nvPr/>
            </p:nvSpPr>
            <p:spPr>
              <a:xfrm>
                <a:off x="0" y="5536799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</p:grpSp>
        <p:grpSp>
          <p:nvGrpSpPr>
            <p:cNvPr id="291" name="Gutter space"/>
            <p:cNvGrpSpPr/>
            <p:nvPr/>
          </p:nvGrpSpPr>
          <p:grpSpPr>
            <a:xfrm>
              <a:off x="1277599" y="623551"/>
              <a:ext cx="9638001" cy="5537047"/>
              <a:chOff x="0" y="0"/>
              <a:chExt cx="9637999" cy="5537046"/>
            </a:xfrm>
          </p:grpSpPr>
          <p:sp>
            <p:nvSpPr>
              <p:cNvPr id="280" name="Rectangle 34"/>
              <p:cNvSpPr/>
              <p:nvPr/>
            </p:nvSpPr>
            <p:spPr>
              <a:xfrm>
                <a:off x="5610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81" name="Rectangle 35"/>
              <p:cNvSpPr/>
              <p:nvPr/>
            </p:nvSpPr>
            <p:spPr>
              <a:xfrm>
                <a:off x="7480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82" name="Rectangle 36"/>
              <p:cNvSpPr/>
              <p:nvPr/>
            </p:nvSpPr>
            <p:spPr>
              <a:xfrm>
                <a:off x="6544999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83" name="Rectangle 37"/>
              <p:cNvSpPr/>
              <p:nvPr/>
            </p:nvSpPr>
            <p:spPr>
              <a:xfrm>
                <a:off x="8415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84" name="Rectangle 38"/>
              <p:cNvSpPr/>
              <p:nvPr/>
            </p:nvSpPr>
            <p:spPr>
              <a:xfrm>
                <a:off x="9349999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85" name="Rectangle 39"/>
              <p:cNvSpPr/>
              <p:nvPr/>
            </p:nvSpPr>
            <p:spPr>
              <a:xfrm>
                <a:off x="4674999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86" name="Rectangle 40"/>
              <p:cNvSpPr/>
              <p:nvPr/>
            </p:nvSpPr>
            <p:spPr>
              <a:xfrm>
                <a:off x="-1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87" name="Rectangle 41"/>
              <p:cNvSpPr/>
              <p:nvPr/>
            </p:nvSpPr>
            <p:spPr>
              <a:xfrm>
                <a:off x="935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88" name="Rectangle 42"/>
              <p:cNvSpPr/>
              <p:nvPr/>
            </p:nvSpPr>
            <p:spPr>
              <a:xfrm>
                <a:off x="1870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89" name="Rectangle 43"/>
              <p:cNvSpPr/>
              <p:nvPr/>
            </p:nvSpPr>
            <p:spPr>
              <a:xfrm>
                <a:off x="2804999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90" name="Rectangle 44"/>
              <p:cNvSpPr/>
              <p:nvPr/>
            </p:nvSpPr>
            <p:spPr>
              <a:xfrm>
                <a:off x="3740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</p:grpSp>
        <p:sp>
          <p:nvSpPr>
            <p:cNvPr id="292" name="Slide edges"/>
            <p:cNvSpPr/>
            <p:nvPr/>
          </p:nvSpPr>
          <p:spPr>
            <a:xfrm>
              <a:off x="-1" y="1"/>
              <a:ext cx="12193201" cy="685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593" y="21587"/>
                  </a:moveTo>
                  <a:lnTo>
                    <a:pt x="21593" y="21568"/>
                  </a:lnTo>
                  <a:lnTo>
                    <a:pt x="18" y="21568"/>
                  </a:lnTo>
                  <a:lnTo>
                    <a:pt x="18" y="32"/>
                  </a:lnTo>
                  <a:lnTo>
                    <a:pt x="21582" y="32"/>
                  </a:lnTo>
                  <a:lnTo>
                    <a:pt x="21582" y="21587"/>
                  </a:lnTo>
                  <a:lnTo>
                    <a:pt x="21593" y="21587"/>
                  </a:lnTo>
                  <a:lnTo>
                    <a:pt x="21593" y="21568"/>
                  </a:lnTo>
                  <a:lnTo>
                    <a:pt x="21593" y="21587"/>
                  </a:lnTo>
                  <a:lnTo>
                    <a:pt x="21600" y="21587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21587"/>
                  </a:lnTo>
                  <a:lnTo>
                    <a:pt x="21593" y="21587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>
                <a:defRPr>
                  <a:solidFill>
                    <a:srgbClr val="575757"/>
                  </a:solidFill>
                </a:defRPr>
              </a:pPr>
              <a:endParaRPr lang="ru-RU" sz="2247" dirty="0"/>
            </a:p>
          </p:txBody>
        </p:sp>
        <p:sp>
          <p:nvSpPr>
            <p:cNvPr id="293" name="Footnote measure"/>
            <p:cNvSpPr/>
            <p:nvPr/>
          </p:nvSpPr>
          <p:spPr>
            <a:xfrm>
              <a:off x="629999" y="6159600"/>
              <a:ext cx="10933201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/>
              <a:endParaRPr lang="ru-RU" sz="2247" dirty="0"/>
            </a:p>
          </p:txBody>
        </p:sp>
        <p:sp>
          <p:nvSpPr>
            <p:cNvPr id="294" name="Whitespace measure"/>
            <p:cNvSpPr/>
            <p:nvPr/>
          </p:nvSpPr>
          <p:spPr>
            <a:xfrm>
              <a:off x="630000" y="1497601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/>
              <a:endParaRPr lang="ru-RU" sz="2247" dirty="0"/>
            </a:p>
          </p:txBody>
        </p:sp>
        <p:grpSp>
          <p:nvGrpSpPr>
            <p:cNvPr id="300" name="Five column measure"/>
            <p:cNvGrpSpPr/>
            <p:nvPr/>
          </p:nvGrpSpPr>
          <p:grpSpPr>
            <a:xfrm>
              <a:off x="629999" y="5975122"/>
              <a:ext cx="10933202" cy="79536"/>
              <a:chOff x="0" y="0"/>
              <a:chExt cx="10933200" cy="79535"/>
            </a:xfrm>
          </p:grpSpPr>
          <p:sp>
            <p:nvSpPr>
              <p:cNvPr id="295" name="Rectangle 5"/>
              <p:cNvSpPr/>
              <p:nvPr/>
            </p:nvSpPr>
            <p:spPr>
              <a:xfrm>
                <a:off x="2250727" y="-1"/>
                <a:ext cx="1930289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96" name="Rectangle 7"/>
              <p:cNvSpPr/>
              <p:nvPr/>
            </p:nvSpPr>
            <p:spPr>
              <a:xfrm>
                <a:off x="8996794" y="-1"/>
                <a:ext cx="1936407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97" name="Rectangle 9"/>
              <p:cNvSpPr/>
              <p:nvPr/>
            </p:nvSpPr>
            <p:spPr>
              <a:xfrm>
                <a:off x="6743007" y="-1"/>
                <a:ext cx="1936407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98" name="Rectangle 11"/>
              <p:cNvSpPr/>
              <p:nvPr/>
            </p:nvSpPr>
            <p:spPr>
              <a:xfrm>
                <a:off x="4498397" y="-1"/>
                <a:ext cx="1927230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299" name="Rectangle 13"/>
              <p:cNvSpPr/>
              <p:nvPr/>
            </p:nvSpPr>
            <p:spPr>
              <a:xfrm>
                <a:off x="-1" y="-1"/>
                <a:ext cx="1933348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</p:grpSp>
        <p:sp>
          <p:nvSpPr>
            <p:cNvPr id="301" name="Live area"/>
            <p:cNvSpPr/>
            <p:nvPr/>
          </p:nvSpPr>
          <p:spPr>
            <a:xfrm>
              <a:off x="629999" y="2080801"/>
              <a:ext cx="10933202" cy="4078801"/>
            </a:xfrm>
            <a:prstGeom prst="rect">
              <a:avLst/>
            </a:prstGeom>
            <a:noFill/>
            <a:ln w="9525" cap="flat">
              <a:solidFill>
                <a:srgbClr val="E71C57">
                  <a:alpha val="35000"/>
                </a:srgbClr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>
                <a:lnSpc>
                  <a:spcPct val="90000"/>
                </a:lnSpc>
                <a:spcBef>
                  <a:spcPts val="977"/>
                </a:spcBef>
                <a:defRPr sz="1200">
                  <a:solidFill>
                    <a:srgbClr val="FFFFFF"/>
                  </a:solidFill>
                </a:defRPr>
              </a:pPr>
              <a:endParaRPr lang="ru-RU" sz="1173" dirty="0"/>
            </a:p>
          </p:txBody>
        </p:sp>
        <p:sp>
          <p:nvSpPr>
            <p:cNvPr id="302" name="Footnote example"/>
            <p:cNvSpPr txBox="1"/>
            <p:nvPr/>
          </p:nvSpPr>
          <p:spPr>
            <a:xfrm>
              <a:off x="630598" y="6145424"/>
              <a:ext cx="10151212" cy="4145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spAutoFit/>
            </a:bodyPr>
            <a:lstStyle/>
            <a:p>
              <a:pPr>
                <a:lnSpc>
                  <a:spcPct val="90000"/>
                </a:lnSpc>
                <a:defRPr sz="1000">
                  <a:solidFill>
                    <a:srgbClr val="808080"/>
                  </a:solidFill>
                </a:defRPr>
              </a:pPr>
              <a:r>
                <a:rPr lang="ru-RU" sz="977" dirty="0"/>
                <a:t>1. </a:t>
              </a:r>
              <a:r>
                <a:rPr lang="ru-RU" sz="977" dirty="0" err="1"/>
                <a:t>xxxx</a:t>
              </a:r>
              <a:r>
                <a:rPr lang="ru-RU" sz="977" dirty="0"/>
                <a:t>  2. </a:t>
              </a:r>
              <a:r>
                <a:rPr lang="ru-RU" sz="977" dirty="0" err="1"/>
                <a:t>xxxx</a:t>
              </a:r>
              <a:r>
                <a:rPr lang="ru-RU" sz="977" dirty="0"/>
                <a:t>  3. </a:t>
              </a:r>
              <a:r>
                <a:rPr lang="ru-RU" sz="977" dirty="0" err="1"/>
                <a:t>xxxx</a:t>
              </a:r>
              <a:endParaRPr lang="ru-RU" sz="977" dirty="0"/>
            </a:p>
            <a:p>
              <a:pPr>
                <a:lnSpc>
                  <a:spcPct val="90000"/>
                </a:lnSpc>
                <a:defRPr sz="1000">
                  <a:solidFill>
                    <a:srgbClr val="808080"/>
                  </a:solidFill>
                </a:defRPr>
              </a:pPr>
              <a:r>
                <a:rPr lang="ru-RU" sz="977" dirty="0"/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 sz="1000">
                  <a:solidFill>
                    <a:srgbClr val="808080"/>
                  </a:solidFill>
                </a:defRPr>
              </a:pPr>
              <a:r>
                <a:rPr lang="ru-RU" sz="977" dirty="0"/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2711314"/>
      </p:ext>
    </p:extLst>
  </p:cSld>
  <p:clrMapOvr>
    <a:masterClrMapping/>
  </p:clrMapOvr>
  <p:transition spd="med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Title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D0736C58-FF21-4D71-BBEC-09ED1F08CF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371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D0736C58-FF21-4D71-BBEC-09ED1F08C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0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311" name="Rectangle 9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4671" rIns="44671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ru-RU" sz="2247" dirty="0"/>
          </a:p>
        </p:txBody>
      </p:sp>
      <p:pic>
        <p:nvPicPr>
          <p:cNvPr id="312" name="Shape 54" descr="Shape 54"/>
          <p:cNvPicPr>
            <a:picLocks noChangeAspect="1"/>
          </p:cNvPicPr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633495" y="4957430"/>
            <a:ext cx="3923263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313" name="Shape 56" descr="Shape 56"/>
          <p:cNvPicPr>
            <a:picLocks noChangeAspect="1"/>
          </p:cNvPicPr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601256" y="550596"/>
            <a:ext cx="1315864" cy="2541663"/>
          </a:xfrm>
          <a:prstGeom prst="rect">
            <a:avLst/>
          </a:prstGeom>
          <a:ln w="12700">
            <a:miter lim="400000"/>
          </a:ln>
        </p:spPr>
      </p:pic>
      <p:sp>
        <p:nvSpPr>
          <p:cNvPr id="314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4821664" y="1993160"/>
            <a:ext cx="5567578" cy="1366089"/>
          </a:xfrm>
          <a:prstGeom prst="rect">
            <a:avLst/>
          </a:prstGeom>
        </p:spPr>
        <p:txBody>
          <a:bodyPr anchor="t"/>
          <a:lstStyle>
            <a:lvl1pPr>
              <a:defRPr sz="3518"/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31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5879" y="6090454"/>
            <a:ext cx="281485" cy="272830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173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1231600"/>
      </p:ext>
    </p:extLst>
  </p:cSld>
  <p:clrMapOvr>
    <a:masterClrMapping/>
  </p:clrMapOvr>
  <p:transition spd="med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049D624-24B9-4EAE-9BB6-C87368FF9E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971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7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049D624-24B9-4EAE-9BB6-C87368FF9E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331" name="Rectangle 6"/>
          <p:cNvSpPr/>
          <p:nvPr/>
        </p:nvSpPr>
        <p:spPr>
          <a:xfrm>
            <a:off x="1" y="-1283"/>
            <a:ext cx="4586820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332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15563" y="2115007"/>
            <a:ext cx="3658201" cy="5306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Tx/>
              <a:buSzTx/>
              <a:buFontTx/>
              <a:buNone/>
              <a:defRPr sz="1563"/>
            </a:lvl1pPr>
            <a:lvl2pPr marL="0" indent="446730">
              <a:buClrTx/>
              <a:buSzTx/>
              <a:buFontTx/>
              <a:buNone/>
              <a:defRPr sz="1563"/>
            </a:lvl2pPr>
            <a:lvl3pPr marL="0" indent="893460">
              <a:buClrTx/>
              <a:buSzTx/>
              <a:buFontTx/>
              <a:buNone/>
              <a:defRPr sz="1563"/>
            </a:lvl3pPr>
            <a:lvl4pPr indent="1340190">
              <a:buClrTx/>
              <a:buSzTx/>
              <a:buFontTx/>
              <a:buNone/>
              <a:defRPr sz="1563"/>
            </a:lvl4pPr>
            <a:lvl5pPr indent="1786920">
              <a:buClrTx/>
              <a:buSzTx/>
              <a:buFontTx/>
              <a:buNone/>
              <a:defRPr sz="1563"/>
            </a:lvl5pPr>
          </a:lstStyle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  <p:sp>
        <p:nvSpPr>
          <p:cNvPr id="333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1202052"/>
            <a:ext cx="3658201" cy="651256"/>
          </a:xfrm>
          <a:prstGeom prst="rect">
            <a:avLst/>
          </a:prstGeom>
        </p:spPr>
        <p:txBody>
          <a:bodyPr anchor="t"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6529252"/>
      </p:ext>
    </p:extLst>
  </p:cSld>
  <p:clrMapOvr>
    <a:masterClrMapping/>
  </p:clrMapOvr>
  <p:transition spd="med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Section header box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9AFECE5-4368-4D45-BBDA-628953B22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44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9AFECE5-4368-4D45-BBDA-628953B22C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34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1255300" y="2613692"/>
            <a:ext cx="9400022" cy="3135820"/>
          </a:xfrm>
          <a:prstGeom prst="rect">
            <a:avLst/>
          </a:prstGeom>
        </p:spPr>
        <p:txBody>
          <a:bodyPr lIns="137160" tIns="137160" rIns="137160" bIns="137160" anchor="b"/>
          <a:lstStyle>
            <a:lvl1pPr>
              <a:lnSpc>
                <a:spcPts val="5863"/>
              </a:lnSpc>
              <a:defRPr sz="5276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342" name="Rectangle 10"/>
          <p:cNvSpPr/>
          <p:nvPr/>
        </p:nvSpPr>
        <p:spPr>
          <a:xfrm>
            <a:off x="1251343" y="1395072"/>
            <a:ext cx="929912" cy="932334"/>
          </a:xfrm>
          <a:prstGeom prst="rect">
            <a:avLst/>
          </a:prstGeom>
          <a:ln w="10795">
            <a:solidFill>
              <a:srgbClr val="888888"/>
            </a:solidFill>
            <a:miter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</p:spTree>
    <p:extLst>
      <p:ext uri="{BB962C8B-B14F-4D97-AF65-F5344CB8AC3E}">
        <p14:creationId xmlns:p14="http://schemas.microsoft.com/office/powerpoint/2010/main" val="940419612"/>
      </p:ext>
    </p:extLst>
  </p:cSld>
  <p:clrMapOvr>
    <a:masterClrMapping/>
  </p:clrMapOvr>
  <p:transition spd="med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Section header 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F800AE65-8A43-4509-9F9B-EE29069BC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517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F800AE65-8A43-4509-9F9B-EE29069BC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350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3748847"/>
            <a:ext cx="10686165" cy="1999621"/>
          </a:xfrm>
          <a:prstGeom prst="rect">
            <a:avLst/>
          </a:prstGeom>
        </p:spPr>
        <p:txBody>
          <a:bodyPr anchor="t"/>
          <a:lstStyle>
            <a:lvl1pPr>
              <a:defRPr sz="5276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351" name="Straight Connector 9"/>
          <p:cNvSpPr/>
          <p:nvPr/>
        </p:nvSpPr>
        <p:spPr>
          <a:xfrm>
            <a:off x="615562" y="3605053"/>
            <a:ext cx="11293705" cy="1"/>
          </a:xfrm>
          <a:prstGeom prst="line">
            <a:avLst/>
          </a:prstGeom>
          <a:ln w="19050">
            <a:solidFill>
              <a:srgbClr val="888888"/>
            </a:solidFill>
            <a:miter/>
          </a:ln>
        </p:spPr>
        <p:txBody>
          <a:bodyPr lIns="44671" rIns="44671"/>
          <a:lstStyle/>
          <a:p>
            <a:pPr eaLnBrk="1"/>
            <a:endParaRPr lang="ru-RU" sz="2247" dirty="0"/>
          </a:p>
        </p:txBody>
      </p:sp>
    </p:spTree>
    <p:extLst>
      <p:ext uri="{BB962C8B-B14F-4D97-AF65-F5344CB8AC3E}">
        <p14:creationId xmlns:p14="http://schemas.microsoft.com/office/powerpoint/2010/main" val="3984897224"/>
      </p:ext>
    </p:extLst>
  </p:cSld>
  <p:clrMapOvr>
    <a:masterClrMapping/>
  </p:clrMapOvr>
  <p:transition spd="med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8CCB5D8-542B-4934-8EC9-BDD60665D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846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4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8CCB5D8-542B-4934-8EC9-BDD60665D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8" name="Picture 9" descr="Picture 9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rot="10800000" flipH="1">
            <a:off x="3971838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35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360" name="Rectangle 23"/>
          <p:cNvSpPr/>
          <p:nvPr/>
        </p:nvSpPr>
        <p:spPr>
          <a:xfrm>
            <a:off x="0" y="0"/>
            <a:ext cx="3986019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36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7666612"/>
      </p:ext>
    </p:extLst>
  </p:cSld>
  <p:clrMapOvr>
    <a:masterClrMapping/>
  </p:clrMapOvr>
  <p:transition spd="med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D35C210-FD54-4ACD-B60C-9BA88A312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011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D35C210-FD54-4ACD-B60C-9BA88A312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8" name="Picture 9" descr="Picture 9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rot="10800000" flipH="1">
            <a:off x="7001394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369" name="Rectangle 13"/>
          <p:cNvSpPr/>
          <p:nvPr/>
        </p:nvSpPr>
        <p:spPr>
          <a:xfrm>
            <a:off x="-1" y="0"/>
            <a:ext cx="7007601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37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37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3"/>
            <a:ext cx="6132692" cy="325629"/>
          </a:xfrm>
          <a:prstGeom prst="rect">
            <a:avLst/>
          </a:prstGeom>
        </p:spPr>
        <p:txBody>
          <a:bodyPr anchor="t"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5669562"/>
      </p:ext>
    </p:extLst>
  </p:cSld>
  <p:clrMapOvr>
    <a:masterClrMapping/>
  </p:clrMapOvr>
  <p:transition spd="med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C611690B-7449-4EC7-B9C4-E6D4EB2CCF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6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9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C611690B-7449-4EC7-B9C4-E6D4EB2CCF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8" name="Picture 15" descr="Picture 15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rot="10800000" flipH="1">
            <a:off x="8822325" y="-1"/>
            <a:ext cx="407397" cy="6718301"/>
          </a:xfrm>
          <a:prstGeom prst="rect">
            <a:avLst/>
          </a:prstGeom>
          <a:ln w="12700">
            <a:miter lim="400000"/>
          </a:ln>
        </p:spPr>
      </p:pic>
      <p:sp>
        <p:nvSpPr>
          <p:cNvPr id="379" name="Rectangle 9"/>
          <p:cNvSpPr/>
          <p:nvPr/>
        </p:nvSpPr>
        <p:spPr>
          <a:xfrm>
            <a:off x="0" y="0"/>
            <a:ext cx="8827237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38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38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2" y="610113"/>
            <a:ext cx="7915923" cy="325629"/>
          </a:xfrm>
          <a:prstGeom prst="rect">
            <a:avLst/>
          </a:prstGeom>
        </p:spPr>
        <p:txBody>
          <a:bodyPr anchor="t"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8104380"/>
      </p:ext>
    </p:extLst>
  </p:cSld>
  <p:clrMapOvr>
    <a:masterClrMapping/>
  </p:clrMapOvr>
  <p:transition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C02E907E-7638-4303-9550-95CE59DA3F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18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1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C02E907E-7638-4303-9550-95CE59DA3F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8" name="Picture 22" descr="Picture 22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flipH="1">
            <a:off x="3586939" y="0"/>
            <a:ext cx="407397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389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390" name="Rectangle 25"/>
          <p:cNvSpPr/>
          <p:nvPr/>
        </p:nvSpPr>
        <p:spPr>
          <a:xfrm>
            <a:off x="3987245" y="-1283"/>
            <a:ext cx="7925354" cy="671958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39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794758"/>
      </p:ext>
    </p:extLst>
  </p:cSld>
  <p:clrMapOvr>
    <a:masterClrMapping/>
  </p:clrMapOvr>
  <p:transition spd="med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65BD427E-9A3A-4E56-B8C3-135AF7B0A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0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65BD427E-9A3A-4E56-B8C3-135AF7B0A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8" name="Picture 9" descr="Picture 9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flipH="1">
            <a:off x="5559196" y="0"/>
            <a:ext cx="407397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399" name="Rectangle 10"/>
          <p:cNvSpPr/>
          <p:nvPr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00" name="Picture Placeholder 18"/>
          <p:cNvSpPr>
            <a:spLocks noGrp="1"/>
          </p:cNvSpPr>
          <p:nvPr>
            <p:ph type="pic" idx="13"/>
          </p:nvPr>
        </p:nvSpPr>
        <p:spPr>
          <a:xfrm>
            <a:off x="5952412" y="0"/>
            <a:ext cx="5960187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0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2" y="1749226"/>
            <a:ext cx="4287833" cy="3219849"/>
          </a:xfrm>
          <a:prstGeom prst="rect">
            <a:avLst/>
          </a:prstGeom>
        </p:spPr>
        <p:txBody>
          <a:bodyPr/>
          <a:lstStyle>
            <a:lvl1pPr>
              <a:defRPr sz="4299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40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4002703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946110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37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56DEA08A-F767-4BF2-861A-C458F25914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6673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6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56DEA08A-F767-4BF2-861A-C458F25914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" name="Picture 9" descr="Picture 9"/>
          <p:cNvPicPr>
            <a:picLocks noChangeAspect="1"/>
          </p:cNvPicPr>
          <p:nvPr/>
        </p:nvPicPr>
        <p:blipFill>
          <a:blip r:embed="rId6">
            <a:extLst/>
          </a:blip>
          <a:srcRect l="29398" t="8741" r="100" b="27"/>
          <a:stretch>
            <a:fillRect/>
          </a:stretch>
        </p:blipFill>
        <p:spPr>
          <a:xfrm flipH="1">
            <a:off x="7240039" y="0"/>
            <a:ext cx="407397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410" name="Rectangle 10"/>
          <p:cNvSpPr/>
          <p:nvPr/>
        </p:nvSpPr>
        <p:spPr>
          <a:xfrm>
            <a:off x="7640344" y="0"/>
            <a:ext cx="4272256" cy="67183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11" name="Picture Placeholder 5"/>
          <p:cNvSpPr>
            <a:spLocks noGrp="1"/>
          </p:cNvSpPr>
          <p:nvPr>
            <p:ph type="pic" sz="half" idx="13"/>
          </p:nvPr>
        </p:nvSpPr>
        <p:spPr>
          <a:xfrm>
            <a:off x="7640817" y="0"/>
            <a:ext cx="4271784" cy="67183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41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6477" y="1749226"/>
            <a:ext cx="6104379" cy="3219849"/>
          </a:xfrm>
          <a:prstGeom prst="rect">
            <a:avLst/>
          </a:prstGeom>
        </p:spPr>
        <p:txBody>
          <a:bodyPr/>
          <a:lstStyle>
            <a:lvl1pPr>
              <a:defRPr sz="4299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4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1298738"/>
      </p:ext>
    </p:extLst>
  </p:cSld>
  <p:clrMapOvr>
    <a:masterClrMapping/>
  </p:clrMapOvr>
  <p:transition spd="med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7B3D4C63-EABC-4C87-ADE4-158B8F7FD9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289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7B3D4C63-EABC-4C87-ADE4-158B8F7FD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" name="Freeform 14"/>
          <p:cNvSpPr/>
          <p:nvPr/>
        </p:nvSpPr>
        <p:spPr>
          <a:xfrm>
            <a:off x="1488" y="1284"/>
            <a:ext cx="3994623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2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42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2707894"/>
            <a:ext cx="2421837" cy="1287539"/>
          </a:xfrm>
          <a:prstGeom prst="rect">
            <a:avLst/>
          </a:prstGeom>
        </p:spPr>
        <p:txBody>
          <a:bodyPr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pic>
        <p:nvPicPr>
          <p:cNvPr id="423" name="Picture 11" descr="Picture 11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3060656" y="3517262"/>
            <a:ext cx="1333964" cy="3314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9063"/>
                </a:lnTo>
                <a:lnTo>
                  <a:pt x="14385" y="0"/>
                </a:lnTo>
                <a:lnTo>
                  <a:pt x="0" y="0"/>
                </a:lnTo>
                <a:close/>
                <a:moveTo>
                  <a:pt x="14549" y="0"/>
                </a:moveTo>
                <a:lnTo>
                  <a:pt x="2053" y="20863"/>
                </a:lnTo>
                <a:lnTo>
                  <a:pt x="0" y="20845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49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8656398"/>
      </p:ext>
    </p:extLst>
  </p:cSld>
  <p:clrMapOvr>
    <a:masterClrMapping/>
  </p:clrMapOvr>
  <p:transition spd="med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B92BD2C8-87C0-4659-8588-B0A8621955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085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B92BD2C8-87C0-4659-8588-B0A8621955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0" name="Freeform 14"/>
          <p:cNvSpPr/>
          <p:nvPr/>
        </p:nvSpPr>
        <p:spPr>
          <a:xfrm>
            <a:off x="1488" y="1284"/>
            <a:ext cx="3994623" cy="6718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3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2707894"/>
            <a:ext cx="2421837" cy="1287539"/>
          </a:xfrm>
          <a:prstGeom prst="rect">
            <a:avLst/>
          </a:prstGeom>
        </p:spPr>
        <p:txBody>
          <a:bodyPr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43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433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rcRect t="6216" b="7711"/>
          <a:stretch>
            <a:fillRect/>
          </a:stretch>
        </p:blipFill>
        <p:spPr>
          <a:xfrm rot="120000">
            <a:off x="2124803" y="3333510"/>
            <a:ext cx="2632914" cy="33914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213" y="21600"/>
                </a:lnTo>
                <a:lnTo>
                  <a:pt x="14805" y="77"/>
                </a:lnTo>
                <a:lnTo>
                  <a:pt x="15187" y="37"/>
                </a:lnTo>
                <a:lnTo>
                  <a:pt x="13399" y="21523"/>
                </a:lnTo>
                <a:lnTo>
                  <a:pt x="10625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37128984"/>
      </p:ext>
    </p:extLst>
  </p:cSld>
  <p:clrMapOvr>
    <a:masterClrMapping/>
  </p:clrMapOvr>
  <p:transition spd="med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E277E0E-5EFA-49CF-A2FD-1C38272971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347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0E277E0E-5EFA-49CF-A2FD-1C3827297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441" name="Pentagon 3"/>
          <p:cNvSpPr/>
          <p:nvPr/>
        </p:nvSpPr>
        <p:spPr>
          <a:xfrm>
            <a:off x="1" y="0"/>
            <a:ext cx="5302553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4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1749226"/>
            <a:ext cx="3969143" cy="3219849"/>
          </a:xfrm>
          <a:prstGeom prst="rect">
            <a:avLst/>
          </a:prstGeom>
        </p:spPr>
        <p:txBody>
          <a:bodyPr/>
          <a:lstStyle>
            <a:lvl1pPr>
              <a:defRPr sz="4299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pic>
        <p:nvPicPr>
          <p:cNvPr id="443" name="Picture 10" descr="Picture 10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4476532" y="3325247"/>
            <a:ext cx="1268816" cy="34991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5982"/>
                </a:lnTo>
                <a:lnTo>
                  <a:pt x="13995" y="132"/>
                </a:lnTo>
                <a:lnTo>
                  <a:pt x="2324" y="20964"/>
                </a:lnTo>
                <a:lnTo>
                  <a:pt x="0" y="20957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98027670"/>
      </p:ext>
    </p:extLst>
  </p:cSld>
  <p:clrMapOvr>
    <a:masterClrMapping/>
  </p:clrMapOvr>
  <p:transition spd="med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37632C9-70D0-44A3-B3E6-A6E2066534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9593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37632C9-70D0-44A3-B3E6-A6E2066534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" name="Pentagon 3"/>
          <p:cNvSpPr/>
          <p:nvPr/>
        </p:nvSpPr>
        <p:spPr>
          <a:xfrm>
            <a:off x="1" y="0"/>
            <a:ext cx="5302553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5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1749226"/>
            <a:ext cx="3969143" cy="3219849"/>
          </a:xfrm>
          <a:prstGeom prst="rect">
            <a:avLst/>
          </a:prstGeom>
        </p:spPr>
        <p:txBody>
          <a:bodyPr/>
          <a:lstStyle>
            <a:lvl1pPr>
              <a:defRPr sz="4299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45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453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rcRect t="7562" b="6866"/>
          <a:stretch>
            <a:fillRect/>
          </a:stretch>
        </p:blipFill>
        <p:spPr>
          <a:xfrm>
            <a:off x="3496062" y="3346708"/>
            <a:ext cx="2632914" cy="33715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71" y="21600"/>
                </a:lnTo>
                <a:lnTo>
                  <a:pt x="14267" y="2277"/>
                </a:lnTo>
                <a:lnTo>
                  <a:pt x="14245" y="2277"/>
                </a:lnTo>
                <a:lnTo>
                  <a:pt x="14818" y="80"/>
                </a:lnTo>
                <a:lnTo>
                  <a:pt x="14799" y="0"/>
                </a:lnTo>
                <a:lnTo>
                  <a:pt x="0" y="0"/>
                </a:lnTo>
                <a:close/>
                <a:moveTo>
                  <a:pt x="16351" y="0"/>
                </a:moveTo>
                <a:lnTo>
                  <a:pt x="16211" y="2381"/>
                </a:lnTo>
                <a:lnTo>
                  <a:pt x="14563" y="2294"/>
                </a:lnTo>
                <a:lnTo>
                  <a:pt x="12111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351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86443851"/>
      </p:ext>
    </p:extLst>
  </p:cSld>
  <p:clrMapOvr>
    <a:masterClrMapping/>
  </p:clrMapOvr>
  <p:transition spd="med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1EDB4DF-BDFA-4053-A813-8636F016FD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2012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1EDB4DF-BDFA-4053-A813-8636F016F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0" name="Pentagon 8"/>
          <p:cNvSpPr/>
          <p:nvPr/>
        </p:nvSpPr>
        <p:spPr>
          <a:xfrm>
            <a:off x="-1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6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2" y="610113"/>
            <a:ext cx="4639018" cy="325629"/>
          </a:xfrm>
          <a:prstGeom prst="rect">
            <a:avLst/>
          </a:prstGeom>
        </p:spPr>
        <p:txBody>
          <a:bodyPr anchor="t"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46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463" name="Picture 9" descr="Picture 9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5274107" y="3516485"/>
            <a:ext cx="1333964" cy="3314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455"/>
                </a:lnTo>
                <a:lnTo>
                  <a:pt x="14367" y="0"/>
                </a:lnTo>
                <a:lnTo>
                  <a:pt x="0" y="0"/>
                </a:lnTo>
                <a:close/>
                <a:moveTo>
                  <a:pt x="14567" y="0"/>
                </a:moveTo>
                <a:lnTo>
                  <a:pt x="2003" y="21202"/>
                </a:lnTo>
                <a:lnTo>
                  <a:pt x="0" y="21202"/>
                </a:ln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567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70510829"/>
      </p:ext>
    </p:extLst>
  </p:cSld>
  <p:clrMapOvr>
    <a:masterClrMapping/>
  </p:clrMapOvr>
  <p:transition spd="med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238030E-3E45-4B1A-8E7F-C7F4042FF3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5721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0238030E-3E45-4B1A-8E7F-C7F4042FF3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0" name="Pentagon 8"/>
          <p:cNvSpPr/>
          <p:nvPr/>
        </p:nvSpPr>
        <p:spPr>
          <a:xfrm>
            <a:off x="-1" y="0"/>
            <a:ext cx="6217717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8805" y="0"/>
                </a:lnTo>
                <a:lnTo>
                  <a:pt x="21600" y="10800"/>
                </a:lnTo>
                <a:lnTo>
                  <a:pt x="18805" y="21600"/>
                </a:lnTo>
                <a:lnTo>
                  <a:pt x="0" y="2160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7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2" y="610113"/>
            <a:ext cx="4639018" cy="325629"/>
          </a:xfrm>
          <a:prstGeom prst="rect">
            <a:avLst/>
          </a:prstGeom>
        </p:spPr>
        <p:txBody>
          <a:bodyPr anchor="t"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47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473" name="Picture 9" descr="Picture 9"/>
          <p:cNvPicPr>
            <a:picLocks noChangeAspect="1"/>
          </p:cNvPicPr>
          <p:nvPr/>
        </p:nvPicPr>
        <p:blipFill>
          <a:blip r:embed="rId6">
            <a:extLst/>
          </a:blip>
          <a:srcRect t="9052" b="6871"/>
          <a:stretch>
            <a:fillRect/>
          </a:stretch>
        </p:blipFill>
        <p:spPr>
          <a:xfrm rot="120000">
            <a:off x="4357962" y="3338385"/>
            <a:ext cx="2632914" cy="33859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59" y="21600"/>
                </a:lnTo>
                <a:lnTo>
                  <a:pt x="14761" y="0"/>
                </a:lnTo>
                <a:lnTo>
                  <a:pt x="0" y="0"/>
                </a:lnTo>
                <a:close/>
                <a:moveTo>
                  <a:pt x="17124" y="0"/>
                </a:moveTo>
                <a:lnTo>
                  <a:pt x="15346" y="2664"/>
                </a:lnTo>
                <a:lnTo>
                  <a:pt x="14885" y="2703"/>
                </a:lnTo>
                <a:lnTo>
                  <a:pt x="15686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7124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76325216"/>
      </p:ext>
    </p:extLst>
  </p:cSld>
  <p:clrMapOvr>
    <a:masterClrMapping/>
  </p:clrMapOvr>
  <p:transition spd="med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DB4185BB-831D-469D-A806-57FFF6F8E2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9484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1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DB4185BB-831D-469D-A806-57FFF6F8E2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0" name="Freeform 18"/>
          <p:cNvSpPr/>
          <p:nvPr/>
        </p:nvSpPr>
        <p:spPr>
          <a:xfrm>
            <a:off x="1" y="0"/>
            <a:ext cx="8252679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8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482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3"/>
            <a:ext cx="6111165" cy="325629"/>
          </a:xfrm>
          <a:prstGeom prst="rect">
            <a:avLst/>
          </a:prstGeom>
        </p:spPr>
        <p:txBody>
          <a:bodyPr anchor="t"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pic>
        <p:nvPicPr>
          <p:cNvPr id="483" name="Picture 10" descr="Picture 10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7318685" y="3516485"/>
            <a:ext cx="1333964" cy="3314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2026"/>
                </a:lnTo>
                <a:lnTo>
                  <a:pt x="13494" y="0"/>
                </a:lnTo>
                <a:lnTo>
                  <a:pt x="0" y="0"/>
                </a:lnTo>
                <a:close/>
                <a:moveTo>
                  <a:pt x="14090" y="0"/>
                </a:moveTo>
                <a:lnTo>
                  <a:pt x="13776" y="547"/>
                </a:lnTo>
                <a:lnTo>
                  <a:pt x="14203" y="0"/>
                </a:lnTo>
                <a:lnTo>
                  <a:pt x="14090" y="0"/>
                </a:lnTo>
                <a:close/>
                <a:moveTo>
                  <a:pt x="14423" y="0"/>
                </a:moveTo>
                <a:lnTo>
                  <a:pt x="2053" y="21506"/>
                </a:lnTo>
                <a:lnTo>
                  <a:pt x="1764" y="21506"/>
                </a:lnTo>
                <a:lnTo>
                  <a:pt x="1708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423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24548681"/>
      </p:ext>
    </p:extLst>
  </p:cSld>
  <p:clrMapOvr>
    <a:masterClrMapping/>
  </p:clrMapOvr>
  <p:transition spd="med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5D5ADE05-9788-4D3A-AC26-45DDD5CD8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2764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5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5D5ADE05-9788-4D3A-AC26-45DDD5CD8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0" name="Freeform 18"/>
          <p:cNvSpPr/>
          <p:nvPr/>
        </p:nvSpPr>
        <p:spPr>
          <a:xfrm>
            <a:off x="1" y="0"/>
            <a:ext cx="8252679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9553" y="0"/>
                </a:lnTo>
                <a:lnTo>
                  <a:pt x="21600" y="10800"/>
                </a:lnTo>
                <a:lnTo>
                  <a:pt x="19553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BFBFBF"/>
              </a:gs>
              <a:gs pos="100000">
                <a:srgbClr val="BFBFBF"/>
              </a:gs>
            </a:gsLst>
            <a:lin ang="8100000"/>
          </a:gra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9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3"/>
            <a:ext cx="6111165" cy="325629"/>
          </a:xfrm>
          <a:prstGeom prst="rect">
            <a:avLst/>
          </a:prstGeom>
        </p:spPr>
        <p:txBody>
          <a:bodyPr anchor="t"/>
          <a:lstStyle>
            <a:lvl1pPr>
              <a:defRPr sz="2345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49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493" name="Picture 8" descr="Picture 8"/>
          <p:cNvPicPr>
            <a:picLocks noChangeAspect="1"/>
          </p:cNvPicPr>
          <p:nvPr/>
        </p:nvPicPr>
        <p:blipFill>
          <a:blip r:embed="rId6">
            <a:extLst/>
          </a:blip>
          <a:srcRect t="9052" b="6871"/>
          <a:stretch>
            <a:fillRect/>
          </a:stretch>
        </p:blipFill>
        <p:spPr>
          <a:xfrm rot="120000">
            <a:off x="6417122" y="3338385"/>
            <a:ext cx="2632914" cy="33859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9127" y="21600"/>
                </a:lnTo>
                <a:lnTo>
                  <a:pt x="14633" y="0"/>
                </a:lnTo>
                <a:lnTo>
                  <a:pt x="0" y="0"/>
                </a:lnTo>
                <a:close/>
                <a:moveTo>
                  <a:pt x="16577" y="0"/>
                </a:moveTo>
                <a:lnTo>
                  <a:pt x="11503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6577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14705239"/>
      </p:ext>
    </p:extLst>
  </p:cSld>
  <p:clrMapOvr>
    <a:masterClrMapping/>
  </p:clrMapOvr>
  <p:transition spd="med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A12DD04-4507-4933-9E72-AD853E4B1C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62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79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A12DD04-4507-4933-9E72-AD853E4B1C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501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3748390"/>
            <a:ext cx="10682648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863"/>
              </a:lnSpc>
              <a:defRPr sz="5276" b="0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075048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875888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4898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FBA8A94E-BDE8-4E84-A46B-4F24A41DD6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385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FBA8A94E-BDE8-4E84-A46B-4F24A41DD6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509" name="Rectangle 5"/>
          <p:cNvSpPr/>
          <p:nvPr/>
        </p:nvSpPr>
        <p:spPr>
          <a:xfrm>
            <a:off x="615563" y="612734"/>
            <a:ext cx="911315" cy="913690"/>
          </a:xfrm>
          <a:prstGeom prst="rect">
            <a:avLst/>
          </a:prstGeom>
          <a:ln w="10795">
            <a:solidFill>
              <a:srgbClr val="888888"/>
            </a:solidFill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510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3748390"/>
            <a:ext cx="10682648" cy="157382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863"/>
              </a:lnSpc>
              <a:defRPr sz="5276" b="0">
                <a:solidFill>
                  <a:srgbClr val="888888"/>
                </a:solidFill>
              </a:defRPr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6733533"/>
      </p:ext>
    </p:extLst>
  </p:cSld>
  <p:clrMapOvr>
    <a:masterClrMapping/>
  </p:clrMapOvr>
  <p:transition spd="med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518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rcRect r="3648" b="1257"/>
          <a:stretch>
            <a:fillRect/>
          </a:stretch>
        </p:blipFill>
        <p:spPr>
          <a:xfrm rot="16200000" flipH="1">
            <a:off x="6640802" y="112037"/>
            <a:ext cx="753476" cy="97902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9983"/>
                </a:lnTo>
                <a:lnTo>
                  <a:pt x="6085" y="2155"/>
                </a:lnTo>
                <a:lnTo>
                  <a:pt x="555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519" name="Freeform 58"/>
          <p:cNvSpPr/>
          <p:nvPr/>
        </p:nvSpPr>
        <p:spPr>
          <a:xfrm flipH="1">
            <a:off x="0" y="0"/>
            <a:ext cx="11912600" cy="57478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0"/>
                </a:lnTo>
                <a:lnTo>
                  <a:pt x="0" y="18208"/>
                </a:lnTo>
                <a:lnTo>
                  <a:pt x="16019" y="18208"/>
                </a:lnTo>
                <a:lnTo>
                  <a:pt x="17671" y="21600"/>
                </a:lnTo>
                <a:lnTo>
                  <a:pt x="17671" y="18208"/>
                </a:lnTo>
                <a:lnTo>
                  <a:pt x="21600" y="18208"/>
                </a:lnTo>
                <a:close/>
              </a:path>
            </a:pathLst>
          </a:custGeom>
          <a:solidFill>
            <a:srgbClr val="9A9A9A"/>
          </a:solidFill>
          <a:ln w="12700">
            <a:miter lim="400000"/>
          </a:ln>
        </p:spPr>
        <p:txBody>
          <a:bodyPr lIns="44671" rIns="44671"/>
          <a:lstStyle/>
          <a:p>
            <a:pPr eaLnBrk="1"/>
            <a:endParaRPr lang="ru-RU" sz="2247" dirty="0"/>
          </a:p>
        </p:txBody>
      </p:sp>
    </p:spTree>
    <p:extLst>
      <p:ext uri="{BB962C8B-B14F-4D97-AF65-F5344CB8AC3E}">
        <p14:creationId xmlns:p14="http://schemas.microsoft.com/office/powerpoint/2010/main" val="1950501825"/>
      </p:ext>
    </p:extLst>
  </p:cSld>
  <p:clrMapOvr>
    <a:masterClrMapping/>
  </p:clrMapOvr>
  <p:transition spd="med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6A054276-594E-4CA3-9521-5FDF0BA4D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687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7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6A054276-594E-4CA3-9521-5FDF0BA4D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30323" y="6274332"/>
            <a:ext cx="153888" cy="1503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527" name="Текст заголовка"/>
          <p:cNvSpPr txBox="1">
            <a:spLocks noGrp="1"/>
          </p:cNvSpPr>
          <p:nvPr>
            <p:ph type="title" hasCustomPrompt="1"/>
          </p:nvPr>
        </p:nvSpPr>
        <p:spPr>
          <a:xfrm>
            <a:off x="615563" y="610113"/>
            <a:ext cx="10682648" cy="325629"/>
          </a:xfrm>
          <a:prstGeom prst="rect">
            <a:avLst/>
          </a:prstGeom>
        </p:spPr>
        <p:txBody>
          <a:bodyPr anchor="t"/>
          <a:lstStyle>
            <a:lvl1pPr>
              <a:defRPr sz="2345" b="0"/>
            </a:lvl1pPr>
          </a:lstStyle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3458558"/>
      </p:ext>
    </p:extLst>
  </p:cSld>
  <p:clrMapOvr>
    <a:masterClrMapping/>
  </p:clrMapOvr>
  <p:transition spd="med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Freeform 12"/>
          <p:cNvSpPr/>
          <p:nvPr/>
        </p:nvSpPr>
        <p:spPr>
          <a:xfrm>
            <a:off x="-1" y="0"/>
            <a:ext cx="3994623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535" name="Freeform 12"/>
          <p:cNvSpPr/>
          <p:nvPr/>
        </p:nvSpPr>
        <p:spPr>
          <a:xfrm>
            <a:off x="-1" y="0"/>
            <a:ext cx="3994623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536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15561" y="2525420"/>
            <a:ext cx="2915674" cy="1725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5999"/>
              </a:lnSpc>
              <a:spcBef>
                <a:spcPts val="684"/>
              </a:spcBef>
              <a:buClrTx/>
              <a:buSzTx/>
              <a:buFontTx/>
              <a:buNone/>
              <a:defRPr sz="5276"/>
            </a:lvl1pPr>
            <a:lvl2pPr marL="868836" indent="-759792">
              <a:lnSpc>
                <a:spcPct val="105999"/>
              </a:lnSpc>
              <a:spcBef>
                <a:spcPts val="684"/>
              </a:spcBef>
              <a:buClrTx/>
              <a:buFontTx/>
              <a:defRPr sz="5276"/>
            </a:lvl2pPr>
            <a:lvl3pPr marL="1065821" indent="-728135">
              <a:lnSpc>
                <a:spcPct val="105999"/>
              </a:lnSpc>
              <a:spcBef>
                <a:spcPts val="684"/>
              </a:spcBef>
              <a:buClrTx/>
              <a:buFontTx/>
              <a:defRPr sz="5276"/>
            </a:lvl3pPr>
            <a:lvl4pPr>
              <a:lnSpc>
                <a:spcPct val="105999"/>
              </a:lnSpc>
              <a:spcBef>
                <a:spcPts val="684"/>
              </a:spcBef>
              <a:buClrTx/>
              <a:buFontTx/>
              <a:defRPr sz="5276"/>
            </a:lvl4pPr>
            <a:lvl5pPr>
              <a:lnSpc>
                <a:spcPct val="105999"/>
              </a:lnSpc>
              <a:spcBef>
                <a:spcPts val="684"/>
              </a:spcBef>
              <a:buClrTx/>
              <a:buFontTx/>
              <a:defRPr sz="5276"/>
            </a:lvl5pPr>
          </a:lstStyle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  <p:sp>
        <p:nvSpPr>
          <p:cNvPr id="53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538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037398" y="3513685"/>
            <a:ext cx="1333964" cy="3314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263"/>
                </a:lnTo>
                <a:lnTo>
                  <a:pt x="14706" y="0"/>
                </a:lnTo>
                <a:lnTo>
                  <a:pt x="0" y="0"/>
                </a:lnTo>
                <a:close/>
                <a:moveTo>
                  <a:pt x="14919" y="0"/>
                </a:moveTo>
                <a:lnTo>
                  <a:pt x="2034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919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25806641"/>
      </p:ext>
    </p:extLst>
  </p:cSld>
  <p:clrMapOvr>
    <a:masterClrMapping/>
  </p:clrMapOvr>
  <p:transition spd="med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907502"/>
      </p:ext>
    </p:extLst>
  </p:cSld>
  <p:clrMapOvr>
    <a:masterClrMapping/>
  </p:clrMapOvr>
  <p:transition spd="med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5108810"/>
      </p:ext>
    </p:extLst>
  </p:cSld>
  <p:clrMapOvr>
    <a:masterClrMapping/>
  </p:clrMapOvr>
  <p:transition spd="med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Disclaim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3613308"/>
      </p:ext>
    </p:extLst>
  </p:cSld>
  <p:clrMapOvr>
    <a:masterClrMapping/>
  </p:clrMapOvr>
  <p:transition spd="med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567" name="Rectangle 8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12700">
            <a:miter lim="400000"/>
          </a:ln>
        </p:spPr>
        <p:txBody>
          <a:bodyPr lIns="44671" rIns="44671" anchor="ctr"/>
          <a:lstStyle/>
          <a:p>
            <a:pPr algn="ctr" eaLnBrk="1">
              <a:defRPr>
                <a:solidFill>
                  <a:srgbClr val="FFFFFF"/>
                </a:solidFill>
              </a:defRPr>
            </a:pPr>
            <a:endParaRPr lang="ru-RU" sz="2247" dirty="0"/>
          </a:p>
        </p:txBody>
      </p:sp>
      <p:pic>
        <p:nvPicPr>
          <p:cNvPr id="568" name="Shape 54" descr="Shape 5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33495" y="4957430"/>
            <a:ext cx="3923263" cy="1281205"/>
          </a:xfrm>
          <a:prstGeom prst="rect">
            <a:avLst/>
          </a:prstGeom>
          <a:ln w="12700">
            <a:miter lim="400000"/>
          </a:ln>
        </p:spPr>
      </p:pic>
      <p:pic>
        <p:nvPicPr>
          <p:cNvPr id="569" name="Shape 56" descr="Shape 5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01256" y="550596"/>
            <a:ext cx="1315864" cy="2541663"/>
          </a:xfrm>
          <a:prstGeom prst="rect">
            <a:avLst/>
          </a:prstGeom>
          <a:ln w="12700">
            <a:miter lim="400000"/>
          </a:ln>
        </p:spPr>
      </p:pic>
      <p:sp>
        <p:nvSpPr>
          <p:cNvPr id="57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55879" y="6090454"/>
            <a:ext cx="281485" cy="272830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173">
                <a:solidFill>
                  <a:schemeClr val="accent2">
                    <a:lumOff val="21764"/>
                  </a:schemeClr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1609306"/>
      </p:ext>
    </p:extLst>
  </p:cSld>
  <p:clrMapOvr>
    <a:masterClrMapping/>
  </p:clrMapOvr>
  <p:transition spd="med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. Layout gu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grpSp>
        <p:nvGrpSpPr>
          <p:cNvPr id="623" name="Group 143"/>
          <p:cNvGrpSpPr/>
          <p:nvPr/>
        </p:nvGrpSpPr>
        <p:grpSpPr>
          <a:xfrm>
            <a:off x="-588" y="-1"/>
            <a:ext cx="11914361" cy="6718302"/>
            <a:chOff x="-1" y="0"/>
            <a:chExt cx="12193801" cy="6858001"/>
          </a:xfrm>
        </p:grpSpPr>
        <p:sp>
          <p:nvSpPr>
            <p:cNvPr id="578" name="No fly zone"/>
            <p:cNvSpPr/>
            <p:nvPr/>
          </p:nvSpPr>
          <p:spPr>
            <a:xfrm>
              <a:off x="600" y="0"/>
              <a:ext cx="12193200" cy="685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16" y="1962"/>
                  </a:moveTo>
                  <a:lnTo>
                    <a:pt x="1116" y="19403"/>
                  </a:lnTo>
                  <a:lnTo>
                    <a:pt x="20482" y="19403"/>
                  </a:lnTo>
                  <a:lnTo>
                    <a:pt x="20482" y="1962"/>
                  </a:lnTo>
                  <a:close/>
                  <a:moveTo>
                    <a:pt x="0" y="0"/>
                  </a:moveTo>
                  <a:lnTo>
                    <a:pt x="21600" y="0"/>
                  </a:lnTo>
                  <a:lnTo>
                    <a:pt x="21600" y="1962"/>
                  </a:lnTo>
                  <a:lnTo>
                    <a:pt x="21598" y="1962"/>
                  </a:lnTo>
                  <a:lnTo>
                    <a:pt x="21598" y="19403"/>
                  </a:lnTo>
                  <a:lnTo>
                    <a:pt x="21600" y="19403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0" y="1962"/>
                  </a:lnTo>
                  <a:lnTo>
                    <a:pt x="0" y="1962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/>
              <a:endParaRPr lang="ru-RU" sz="2247" dirty="0"/>
            </a:p>
          </p:txBody>
        </p:sp>
        <p:grpSp>
          <p:nvGrpSpPr>
            <p:cNvPr id="599" name="Baselines / anchors"/>
            <p:cNvGrpSpPr/>
            <p:nvPr/>
          </p:nvGrpSpPr>
          <p:grpSpPr>
            <a:xfrm>
              <a:off x="0" y="622801"/>
              <a:ext cx="12193200" cy="5536800"/>
              <a:chOff x="0" y="0"/>
              <a:chExt cx="12193199" cy="5536799"/>
            </a:xfrm>
          </p:grpSpPr>
          <p:sp>
            <p:nvSpPr>
              <p:cNvPr id="579" name="Straight Connector 169"/>
              <p:cNvSpPr/>
              <p:nvPr/>
            </p:nvSpPr>
            <p:spPr>
              <a:xfrm>
                <a:off x="0" y="0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0" name="Straight Connector 170"/>
              <p:cNvSpPr/>
              <p:nvPr/>
            </p:nvSpPr>
            <p:spPr>
              <a:xfrm>
                <a:off x="0" y="291411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1" name="Straight Connector 171"/>
              <p:cNvSpPr/>
              <p:nvPr/>
            </p:nvSpPr>
            <p:spPr>
              <a:xfrm>
                <a:off x="0" y="582821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2" name="Straight Connector 172"/>
              <p:cNvSpPr/>
              <p:nvPr/>
            </p:nvSpPr>
            <p:spPr>
              <a:xfrm>
                <a:off x="0" y="874799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3" name="Straight Connector 173"/>
              <p:cNvSpPr/>
              <p:nvPr/>
            </p:nvSpPr>
            <p:spPr>
              <a:xfrm>
                <a:off x="0" y="1165643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4" name="Straight Connector 174"/>
              <p:cNvSpPr/>
              <p:nvPr/>
            </p:nvSpPr>
            <p:spPr>
              <a:xfrm>
                <a:off x="0" y="1457054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5" name="Straight Connector 175"/>
              <p:cNvSpPr/>
              <p:nvPr/>
            </p:nvSpPr>
            <p:spPr>
              <a:xfrm>
                <a:off x="0" y="1748465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6" name="Straight Connector 176"/>
              <p:cNvSpPr/>
              <p:nvPr/>
            </p:nvSpPr>
            <p:spPr>
              <a:xfrm>
                <a:off x="0" y="2039876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7" name="Straight Connector 177"/>
              <p:cNvSpPr/>
              <p:nvPr/>
            </p:nvSpPr>
            <p:spPr>
              <a:xfrm>
                <a:off x="0" y="2331287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8" name="Straight Connector 178"/>
              <p:cNvSpPr/>
              <p:nvPr/>
            </p:nvSpPr>
            <p:spPr>
              <a:xfrm>
                <a:off x="0" y="2622698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89" name="Straight Connector 179"/>
              <p:cNvSpPr/>
              <p:nvPr/>
            </p:nvSpPr>
            <p:spPr>
              <a:xfrm>
                <a:off x="0" y="2914109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90" name="Straight Connector 180"/>
              <p:cNvSpPr/>
              <p:nvPr/>
            </p:nvSpPr>
            <p:spPr>
              <a:xfrm>
                <a:off x="0" y="3205520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91" name="Straight Connector 181"/>
              <p:cNvSpPr/>
              <p:nvPr/>
            </p:nvSpPr>
            <p:spPr>
              <a:xfrm>
                <a:off x="0" y="3496931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92" name="Straight Connector 182"/>
              <p:cNvSpPr/>
              <p:nvPr/>
            </p:nvSpPr>
            <p:spPr>
              <a:xfrm>
                <a:off x="0" y="3788342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93" name="Straight Connector 183"/>
              <p:cNvSpPr/>
              <p:nvPr/>
            </p:nvSpPr>
            <p:spPr>
              <a:xfrm>
                <a:off x="0" y="4079753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94" name="Straight Connector 184"/>
              <p:cNvSpPr/>
              <p:nvPr/>
            </p:nvSpPr>
            <p:spPr>
              <a:xfrm>
                <a:off x="0" y="4371164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95" name="Straight Connector 185"/>
              <p:cNvSpPr/>
              <p:nvPr/>
            </p:nvSpPr>
            <p:spPr>
              <a:xfrm>
                <a:off x="0" y="4662575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96" name="Straight Connector 186"/>
              <p:cNvSpPr/>
              <p:nvPr/>
            </p:nvSpPr>
            <p:spPr>
              <a:xfrm>
                <a:off x="0" y="4953986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97" name="Straight Connector 187"/>
              <p:cNvSpPr/>
              <p:nvPr/>
            </p:nvSpPr>
            <p:spPr>
              <a:xfrm>
                <a:off x="0" y="5245397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598" name="Straight Connector 188"/>
              <p:cNvSpPr/>
              <p:nvPr/>
            </p:nvSpPr>
            <p:spPr>
              <a:xfrm>
                <a:off x="0" y="5536799"/>
                <a:ext cx="12193200" cy="1"/>
              </a:xfrm>
              <a:prstGeom prst="line">
                <a:avLst/>
              </a:prstGeom>
              <a:noFill/>
              <a:ln w="9525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</p:grpSp>
        <p:grpSp>
          <p:nvGrpSpPr>
            <p:cNvPr id="611" name="Gutter space"/>
            <p:cNvGrpSpPr/>
            <p:nvPr/>
          </p:nvGrpSpPr>
          <p:grpSpPr>
            <a:xfrm>
              <a:off x="1277599" y="623551"/>
              <a:ext cx="9638001" cy="5537047"/>
              <a:chOff x="0" y="0"/>
              <a:chExt cx="9637999" cy="5537046"/>
            </a:xfrm>
          </p:grpSpPr>
          <p:sp>
            <p:nvSpPr>
              <p:cNvPr id="600" name="Rectangle 34"/>
              <p:cNvSpPr/>
              <p:nvPr/>
            </p:nvSpPr>
            <p:spPr>
              <a:xfrm>
                <a:off x="5610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01" name="Rectangle 35"/>
              <p:cNvSpPr/>
              <p:nvPr/>
            </p:nvSpPr>
            <p:spPr>
              <a:xfrm>
                <a:off x="7480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02" name="Rectangle 36"/>
              <p:cNvSpPr/>
              <p:nvPr/>
            </p:nvSpPr>
            <p:spPr>
              <a:xfrm>
                <a:off x="6544999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03" name="Rectangle 37"/>
              <p:cNvSpPr/>
              <p:nvPr/>
            </p:nvSpPr>
            <p:spPr>
              <a:xfrm>
                <a:off x="8415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04" name="Rectangle 38"/>
              <p:cNvSpPr/>
              <p:nvPr/>
            </p:nvSpPr>
            <p:spPr>
              <a:xfrm>
                <a:off x="9349999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05" name="Rectangle 39"/>
              <p:cNvSpPr/>
              <p:nvPr/>
            </p:nvSpPr>
            <p:spPr>
              <a:xfrm>
                <a:off x="4674999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06" name="Rectangle 40"/>
              <p:cNvSpPr/>
              <p:nvPr/>
            </p:nvSpPr>
            <p:spPr>
              <a:xfrm>
                <a:off x="-1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07" name="Rectangle 41"/>
              <p:cNvSpPr/>
              <p:nvPr/>
            </p:nvSpPr>
            <p:spPr>
              <a:xfrm>
                <a:off x="935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08" name="Rectangle 42"/>
              <p:cNvSpPr/>
              <p:nvPr/>
            </p:nvSpPr>
            <p:spPr>
              <a:xfrm>
                <a:off x="1870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09" name="Rectangle 43"/>
              <p:cNvSpPr/>
              <p:nvPr/>
            </p:nvSpPr>
            <p:spPr>
              <a:xfrm>
                <a:off x="2804999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10" name="Rectangle 44"/>
              <p:cNvSpPr/>
              <p:nvPr/>
            </p:nvSpPr>
            <p:spPr>
              <a:xfrm>
                <a:off x="3740000" y="-1"/>
                <a:ext cx="288001" cy="5537048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</p:grpSp>
        <p:sp>
          <p:nvSpPr>
            <p:cNvPr id="612" name="Slide edges"/>
            <p:cNvSpPr/>
            <p:nvPr/>
          </p:nvSpPr>
          <p:spPr>
            <a:xfrm>
              <a:off x="-1" y="1"/>
              <a:ext cx="12193201" cy="68580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593" y="21587"/>
                  </a:moveTo>
                  <a:lnTo>
                    <a:pt x="21593" y="21568"/>
                  </a:lnTo>
                  <a:lnTo>
                    <a:pt x="18" y="21568"/>
                  </a:lnTo>
                  <a:lnTo>
                    <a:pt x="18" y="32"/>
                  </a:lnTo>
                  <a:lnTo>
                    <a:pt x="21582" y="32"/>
                  </a:lnTo>
                  <a:lnTo>
                    <a:pt x="21582" y="21587"/>
                  </a:lnTo>
                  <a:lnTo>
                    <a:pt x="21593" y="21587"/>
                  </a:lnTo>
                  <a:lnTo>
                    <a:pt x="21593" y="21568"/>
                  </a:lnTo>
                  <a:lnTo>
                    <a:pt x="21593" y="21587"/>
                  </a:lnTo>
                  <a:lnTo>
                    <a:pt x="21600" y="21587"/>
                  </a:lnTo>
                  <a:lnTo>
                    <a:pt x="21600" y="0"/>
                  </a:lnTo>
                  <a:lnTo>
                    <a:pt x="0" y="0"/>
                  </a:lnTo>
                  <a:lnTo>
                    <a:pt x="0" y="21600"/>
                  </a:lnTo>
                  <a:lnTo>
                    <a:pt x="21600" y="21600"/>
                  </a:lnTo>
                  <a:lnTo>
                    <a:pt x="21600" y="21587"/>
                  </a:lnTo>
                  <a:lnTo>
                    <a:pt x="21593" y="21587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>
                <a:defRPr>
                  <a:solidFill>
                    <a:srgbClr val="575757"/>
                  </a:solidFill>
                </a:defRPr>
              </a:pPr>
              <a:endParaRPr lang="ru-RU" sz="2247" dirty="0"/>
            </a:p>
          </p:txBody>
        </p:sp>
        <p:sp>
          <p:nvSpPr>
            <p:cNvPr id="613" name="Footnote measure"/>
            <p:cNvSpPr/>
            <p:nvPr/>
          </p:nvSpPr>
          <p:spPr>
            <a:xfrm>
              <a:off x="629999" y="6159600"/>
              <a:ext cx="10933201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/>
              <a:endParaRPr lang="ru-RU" sz="2247" dirty="0"/>
            </a:p>
          </p:txBody>
        </p:sp>
        <p:sp>
          <p:nvSpPr>
            <p:cNvPr id="614" name="Whitespace measure"/>
            <p:cNvSpPr/>
            <p:nvPr/>
          </p:nvSpPr>
          <p:spPr>
            <a:xfrm>
              <a:off x="630000" y="1497601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/>
              <a:endParaRPr lang="ru-RU" sz="2247" dirty="0"/>
            </a:p>
          </p:txBody>
        </p:sp>
        <p:grpSp>
          <p:nvGrpSpPr>
            <p:cNvPr id="620" name="Five column measure"/>
            <p:cNvGrpSpPr/>
            <p:nvPr/>
          </p:nvGrpSpPr>
          <p:grpSpPr>
            <a:xfrm>
              <a:off x="629999" y="5975122"/>
              <a:ext cx="10933202" cy="79536"/>
              <a:chOff x="0" y="0"/>
              <a:chExt cx="10933200" cy="79535"/>
            </a:xfrm>
          </p:grpSpPr>
          <p:sp>
            <p:nvSpPr>
              <p:cNvPr id="615" name="Rectangle 5"/>
              <p:cNvSpPr/>
              <p:nvPr/>
            </p:nvSpPr>
            <p:spPr>
              <a:xfrm>
                <a:off x="2250727" y="-1"/>
                <a:ext cx="1930289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16" name="Rectangle 7"/>
              <p:cNvSpPr/>
              <p:nvPr/>
            </p:nvSpPr>
            <p:spPr>
              <a:xfrm>
                <a:off x="8996794" y="-1"/>
                <a:ext cx="1936407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17" name="Rectangle 9"/>
              <p:cNvSpPr/>
              <p:nvPr/>
            </p:nvSpPr>
            <p:spPr>
              <a:xfrm>
                <a:off x="6743007" y="-1"/>
                <a:ext cx="1936407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18" name="Rectangle 11"/>
              <p:cNvSpPr/>
              <p:nvPr/>
            </p:nvSpPr>
            <p:spPr>
              <a:xfrm>
                <a:off x="4498397" y="-1"/>
                <a:ext cx="1927230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  <p:sp>
            <p:nvSpPr>
              <p:cNvPr id="619" name="Rectangle 13"/>
              <p:cNvSpPr/>
              <p:nvPr/>
            </p:nvSpPr>
            <p:spPr>
              <a:xfrm>
                <a:off x="-1" y="-1"/>
                <a:ext cx="1933348" cy="79537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eaLnBrk="1"/>
                <a:endParaRPr lang="ru-RU" sz="2247" dirty="0"/>
              </a:p>
            </p:txBody>
          </p:sp>
        </p:grpSp>
        <p:sp>
          <p:nvSpPr>
            <p:cNvPr id="621" name="Live area"/>
            <p:cNvSpPr/>
            <p:nvPr/>
          </p:nvSpPr>
          <p:spPr>
            <a:xfrm>
              <a:off x="629999" y="2080801"/>
              <a:ext cx="10933202" cy="4078801"/>
            </a:xfrm>
            <a:prstGeom prst="rect">
              <a:avLst/>
            </a:prstGeom>
            <a:noFill/>
            <a:ln w="9525" cap="flat">
              <a:solidFill>
                <a:srgbClr val="E71C57">
                  <a:alpha val="35000"/>
                </a:srgbClr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eaLnBrk="1">
                <a:lnSpc>
                  <a:spcPct val="90000"/>
                </a:lnSpc>
                <a:spcBef>
                  <a:spcPts val="977"/>
                </a:spcBef>
                <a:defRPr sz="1200">
                  <a:solidFill>
                    <a:srgbClr val="FFFFFF"/>
                  </a:solidFill>
                </a:defRPr>
              </a:pPr>
              <a:endParaRPr lang="ru-RU" sz="1173" dirty="0"/>
            </a:p>
          </p:txBody>
        </p:sp>
        <p:sp>
          <p:nvSpPr>
            <p:cNvPr id="622" name="Footnote example"/>
            <p:cNvSpPr txBox="1"/>
            <p:nvPr/>
          </p:nvSpPr>
          <p:spPr>
            <a:xfrm>
              <a:off x="630599" y="6145424"/>
              <a:ext cx="9794160" cy="41451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b">
              <a:spAutoFit/>
            </a:bodyPr>
            <a:lstStyle/>
            <a:p>
              <a:pPr>
                <a:lnSpc>
                  <a:spcPct val="90000"/>
                </a:lnSpc>
                <a:defRPr sz="1000">
                  <a:solidFill>
                    <a:srgbClr val="808080"/>
                  </a:solidFill>
                </a:defRPr>
              </a:pPr>
              <a:r>
                <a:rPr lang="ru-RU" sz="977" dirty="0"/>
                <a:t>1. </a:t>
              </a:r>
              <a:r>
                <a:rPr lang="ru-RU" sz="977" dirty="0" err="1"/>
                <a:t>xxxx</a:t>
              </a:r>
              <a:r>
                <a:rPr lang="ru-RU" sz="977" dirty="0"/>
                <a:t>  2. </a:t>
              </a:r>
              <a:r>
                <a:rPr lang="ru-RU" sz="977" dirty="0" err="1"/>
                <a:t>xxxx</a:t>
              </a:r>
              <a:r>
                <a:rPr lang="ru-RU" sz="977" dirty="0"/>
                <a:t>  3. </a:t>
              </a:r>
              <a:r>
                <a:rPr lang="ru-RU" sz="977" dirty="0" err="1"/>
                <a:t>xxxx</a:t>
              </a:r>
              <a:endParaRPr lang="ru-RU" sz="977" dirty="0"/>
            </a:p>
            <a:p>
              <a:pPr>
                <a:lnSpc>
                  <a:spcPct val="90000"/>
                </a:lnSpc>
                <a:defRPr sz="1000">
                  <a:solidFill>
                    <a:srgbClr val="808080"/>
                  </a:solidFill>
                </a:defRPr>
              </a:pPr>
              <a:r>
                <a:rPr lang="ru-RU" sz="977" dirty="0"/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 sz="1000">
                  <a:solidFill>
                    <a:srgbClr val="808080"/>
                  </a:solidFill>
                </a:defRPr>
              </a:pPr>
              <a:r>
                <a:rPr lang="ru-RU" sz="977" dirty="0"/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5375525"/>
      </p:ext>
    </p:extLst>
  </p:cSld>
  <p:clrMapOvr>
    <a:masterClrMapping/>
  </p:clrMapOvr>
  <p:transition spd="med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30323" y="6274332"/>
            <a:ext cx="153888" cy="1503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631" name="Rectangle 10"/>
          <p:cNvSpPr/>
          <p:nvPr/>
        </p:nvSpPr>
        <p:spPr>
          <a:xfrm>
            <a:off x="1356334" y="4595625"/>
            <a:ext cx="908040" cy="975589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4671" rIns="44671" anchor="ctr"/>
          <a:lstStyle/>
          <a:p>
            <a:pPr algn="ctr" eaLnBrk="1">
              <a:lnSpc>
                <a:spcPct val="95000"/>
              </a:lnSpc>
              <a:defRPr sz="2000"/>
            </a:pPr>
            <a:endParaRPr lang="ru-RU" sz="1954" dirty="0"/>
          </a:p>
        </p:txBody>
      </p:sp>
      <p:sp>
        <p:nvSpPr>
          <p:cNvPr id="632" name="Rectangle 11"/>
          <p:cNvSpPr/>
          <p:nvPr/>
        </p:nvSpPr>
        <p:spPr>
          <a:xfrm>
            <a:off x="2451974" y="4595625"/>
            <a:ext cx="1534170" cy="1438270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4671" rIns="44671"/>
          <a:lstStyle/>
          <a:p>
            <a:pPr eaLnBrk="1">
              <a:lnSpc>
                <a:spcPct val="95000"/>
              </a:lnSpc>
              <a:defRPr sz="1200"/>
            </a:pPr>
            <a:endParaRPr lang="ru-RU" sz="1173" dirty="0"/>
          </a:p>
        </p:txBody>
      </p:sp>
      <p:sp>
        <p:nvSpPr>
          <p:cNvPr id="633" name="TextBox 1"/>
          <p:cNvSpPr/>
          <p:nvPr/>
        </p:nvSpPr>
        <p:spPr>
          <a:xfrm>
            <a:off x="615563" y="888718"/>
            <a:ext cx="3369765" cy="3515501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586"/>
              </a:spcBef>
              <a:defRPr sz="5400"/>
            </a:pPr>
            <a:endParaRPr lang="ru-RU" sz="5276" dirty="0"/>
          </a:p>
        </p:txBody>
      </p:sp>
      <p:sp>
        <p:nvSpPr>
          <p:cNvPr id="634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954983" y="1092695"/>
            <a:ext cx="2690222" cy="863819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5276"/>
            </a:lvl1pPr>
            <a:lvl2pPr marL="868836" indent="-759792" algn="ctr">
              <a:defRPr sz="5276"/>
            </a:lvl2pPr>
            <a:lvl3pPr marL="1065821" indent="-728135" algn="ctr">
              <a:defRPr sz="5276"/>
            </a:lvl3pPr>
            <a:lvl4pPr algn="ctr">
              <a:defRPr sz="5276"/>
            </a:lvl4pPr>
            <a:lvl5pPr algn="ctr">
              <a:defRPr sz="5276"/>
            </a:lvl5pPr>
          </a:lstStyle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</p:spTree>
    <p:extLst>
      <p:ext uri="{BB962C8B-B14F-4D97-AF65-F5344CB8AC3E}">
        <p14:creationId xmlns:p14="http://schemas.microsoft.com/office/powerpoint/2010/main" val="3937633215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86457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6716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30323" y="6274332"/>
            <a:ext cx="153888" cy="1503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642" name="Rectangle 9"/>
          <p:cNvSpPr/>
          <p:nvPr/>
        </p:nvSpPr>
        <p:spPr>
          <a:xfrm>
            <a:off x="1255301" y="1399040"/>
            <a:ext cx="925955" cy="928369"/>
          </a:xfrm>
          <a:prstGeom prst="rect">
            <a:avLst/>
          </a:prstGeom>
          <a:ln>
            <a:solidFill>
              <a:srgbClr val="9B9B9B"/>
            </a:solidFill>
            <a:miter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643" name="Rectangle 12"/>
          <p:cNvSpPr/>
          <p:nvPr/>
        </p:nvSpPr>
        <p:spPr>
          <a:xfrm>
            <a:off x="1255748" y="2613259"/>
            <a:ext cx="9398760" cy="3135208"/>
          </a:xfrm>
          <a:prstGeom prst="rect">
            <a:avLst/>
          </a:prstGeom>
          <a:ln>
            <a:solidFill>
              <a:srgbClr val="9B9B9B"/>
            </a:solidFill>
            <a:miter/>
          </a:ln>
        </p:spPr>
        <p:txBody>
          <a:bodyPr lIns="44671" rIns="44671" anchor="ctr"/>
          <a:lstStyle/>
          <a:p>
            <a:pPr algn="ctr" eaLnBrk="1">
              <a:defRPr sz="2000">
                <a:solidFill>
                  <a:srgbClr val="FFFFFF"/>
                </a:solidFill>
              </a:defRPr>
            </a:pPr>
            <a:endParaRPr lang="ru-RU" sz="1954" dirty="0"/>
          </a:p>
        </p:txBody>
      </p:sp>
    </p:spTree>
    <p:extLst>
      <p:ext uri="{BB962C8B-B14F-4D97-AF65-F5344CB8AC3E}">
        <p14:creationId xmlns:p14="http://schemas.microsoft.com/office/powerpoint/2010/main" val="1537112723"/>
      </p:ext>
    </p:extLst>
  </p:cSld>
  <p:clrMapOvr>
    <a:masterClrMapping/>
  </p:clrMapOvr>
  <p:transition spd="med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30323" y="6274332"/>
            <a:ext cx="153888" cy="1503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651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15563" y="610114"/>
            <a:ext cx="7025228" cy="4613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2"/>
            </a:lvl1pPr>
            <a:lvl2pPr marL="587433" indent="-478388">
              <a:defRPr sz="3322"/>
            </a:lvl2pPr>
            <a:lvl3pPr marL="796141" indent="-458455">
              <a:defRPr sz="3322"/>
            </a:lvl3pPr>
            <a:lvl4pPr>
              <a:defRPr sz="3322"/>
            </a:lvl4pPr>
            <a:lvl5pPr>
              <a:defRPr sz="3322"/>
            </a:lvl5pPr>
          </a:lstStyle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  <p:sp>
        <p:nvSpPr>
          <p:cNvPr id="652" name="Straight Connector 12"/>
          <p:cNvSpPr/>
          <p:nvPr/>
        </p:nvSpPr>
        <p:spPr>
          <a:xfrm>
            <a:off x="604714" y="1181434"/>
            <a:ext cx="11311016" cy="1"/>
          </a:xfrm>
          <a:prstGeom prst="line">
            <a:avLst/>
          </a:prstGeom>
          <a:ln>
            <a:solidFill>
              <a:srgbClr val="9B9B9B"/>
            </a:solidFill>
            <a:miter/>
          </a:ln>
        </p:spPr>
        <p:txBody>
          <a:bodyPr lIns="44671" rIns="44671"/>
          <a:lstStyle/>
          <a:p>
            <a:pPr eaLnBrk="1"/>
            <a:endParaRPr lang="ru-RU" sz="2247" dirty="0"/>
          </a:p>
        </p:txBody>
      </p:sp>
    </p:spTree>
    <p:extLst>
      <p:ext uri="{BB962C8B-B14F-4D97-AF65-F5344CB8AC3E}">
        <p14:creationId xmlns:p14="http://schemas.microsoft.com/office/powerpoint/2010/main" val="2348336730"/>
      </p:ext>
    </p:extLst>
  </p:cSld>
  <p:clrMapOvr>
    <a:masterClrMapping/>
  </p:clrMapOvr>
  <p:transition spd="med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9" name="Picture 9" descr="Picture 9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7"/>
          <a:stretch>
            <a:fillRect/>
          </a:stretch>
        </p:blipFill>
        <p:spPr>
          <a:xfrm flipH="1">
            <a:off x="3586939" y="0"/>
            <a:ext cx="407397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660" name="Rectangle 12"/>
          <p:cNvSpPr/>
          <p:nvPr/>
        </p:nvSpPr>
        <p:spPr>
          <a:xfrm>
            <a:off x="3987245" y="-1283"/>
            <a:ext cx="7925354" cy="6719584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66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662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15563" y="3142373"/>
            <a:ext cx="1511688" cy="4341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3127"/>
            </a:lvl1pPr>
            <a:lvl2pPr marL="559292" indent="-450248">
              <a:lnSpc>
                <a:spcPct val="90000"/>
              </a:lnSpc>
              <a:defRPr sz="3127"/>
            </a:lvl2pPr>
            <a:lvl3pPr marL="769173" indent="-431487">
              <a:lnSpc>
                <a:spcPct val="90000"/>
              </a:lnSpc>
              <a:defRPr sz="3127"/>
            </a:lvl3pPr>
            <a:lvl4pPr>
              <a:lnSpc>
                <a:spcPct val="90000"/>
              </a:lnSpc>
              <a:defRPr sz="3127"/>
            </a:lvl4pPr>
            <a:lvl5pPr>
              <a:lnSpc>
                <a:spcPct val="90000"/>
              </a:lnSpc>
              <a:defRPr sz="3127"/>
            </a:lvl5pPr>
          </a:lstStyle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</p:spTree>
    <p:extLst>
      <p:ext uri="{BB962C8B-B14F-4D97-AF65-F5344CB8AC3E}">
        <p14:creationId xmlns:p14="http://schemas.microsoft.com/office/powerpoint/2010/main" val="3441662724"/>
      </p:ext>
    </p:extLst>
  </p:cSld>
  <p:clrMapOvr>
    <a:masterClrMapping/>
  </p:clrMapOvr>
  <p:transition spd="med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670" name="Rectangle 7"/>
          <p:cNvSpPr/>
          <p:nvPr/>
        </p:nvSpPr>
        <p:spPr>
          <a:xfrm>
            <a:off x="1356334" y="4595625"/>
            <a:ext cx="908040" cy="975589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4671" rIns="44671" anchor="ctr"/>
          <a:lstStyle/>
          <a:p>
            <a:pPr algn="ctr" eaLnBrk="1">
              <a:lnSpc>
                <a:spcPct val="95000"/>
              </a:lnSpc>
              <a:defRPr sz="2000">
                <a:solidFill>
                  <a:srgbClr val="FFFFFF"/>
                </a:solidFill>
              </a:defRPr>
            </a:pPr>
            <a:endParaRPr lang="ru-RU" sz="1954" dirty="0"/>
          </a:p>
        </p:txBody>
      </p:sp>
      <p:sp>
        <p:nvSpPr>
          <p:cNvPr id="671" name="Rectangle 9"/>
          <p:cNvSpPr/>
          <p:nvPr/>
        </p:nvSpPr>
        <p:spPr>
          <a:xfrm>
            <a:off x="2451974" y="4595625"/>
            <a:ext cx="1534170" cy="1438270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4671" rIns="44671"/>
          <a:lstStyle/>
          <a:p>
            <a:pPr eaLnBrk="1">
              <a:lnSpc>
                <a:spcPct val="95000"/>
              </a:lnSpc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672" name="TextBox 10"/>
          <p:cNvSpPr/>
          <p:nvPr/>
        </p:nvSpPr>
        <p:spPr>
          <a:xfrm>
            <a:off x="615563" y="888718"/>
            <a:ext cx="3369765" cy="3540383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586"/>
              </a:spcBef>
              <a:defRPr sz="5400">
                <a:solidFill>
                  <a:schemeClr val="accent1"/>
                </a:solidFill>
              </a:defRPr>
            </a:pPr>
            <a:endParaRPr lang="ru-RU" sz="5276" dirty="0"/>
          </a:p>
        </p:txBody>
      </p:sp>
      <p:sp>
        <p:nvSpPr>
          <p:cNvPr id="673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954983" y="1092695"/>
            <a:ext cx="2690222" cy="863819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5276"/>
            </a:lvl1pPr>
            <a:lvl2pPr marL="868836" indent="-759792" algn="ctr">
              <a:defRPr sz="5276"/>
            </a:lvl2pPr>
            <a:lvl3pPr marL="1065821" indent="-728135" algn="ctr">
              <a:defRPr sz="5276"/>
            </a:lvl3pPr>
            <a:lvl4pPr algn="ctr">
              <a:defRPr sz="5276"/>
            </a:lvl4pPr>
            <a:lvl5pPr algn="ctr">
              <a:defRPr sz="5276"/>
            </a:lvl5pPr>
          </a:lstStyle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</p:spTree>
    <p:extLst>
      <p:ext uri="{BB962C8B-B14F-4D97-AF65-F5344CB8AC3E}">
        <p14:creationId xmlns:p14="http://schemas.microsoft.com/office/powerpoint/2010/main" val="1619666446"/>
      </p:ext>
    </p:extLst>
  </p:cSld>
  <p:clrMapOvr>
    <a:masterClrMapping/>
  </p:clrMapOvr>
  <p:transition spd="med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681" name="Rectangle 7"/>
          <p:cNvSpPr/>
          <p:nvPr/>
        </p:nvSpPr>
        <p:spPr>
          <a:xfrm>
            <a:off x="1255301" y="1399040"/>
            <a:ext cx="925955" cy="928369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682" name="Rectangle 9"/>
          <p:cNvSpPr/>
          <p:nvPr/>
        </p:nvSpPr>
        <p:spPr>
          <a:xfrm>
            <a:off x="1255748" y="2613259"/>
            <a:ext cx="9398760" cy="3135208"/>
          </a:xfrm>
          <a:prstGeom prst="rect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4671" rIns="44671" anchor="ctr"/>
          <a:lstStyle/>
          <a:p>
            <a:pPr algn="ctr" eaLnBrk="1">
              <a:defRPr sz="2000">
                <a:solidFill>
                  <a:srgbClr val="FFFFFF"/>
                </a:solidFill>
              </a:defRPr>
            </a:pPr>
            <a:endParaRPr lang="ru-RU" sz="1954" dirty="0"/>
          </a:p>
        </p:txBody>
      </p:sp>
    </p:spTree>
    <p:extLst>
      <p:ext uri="{BB962C8B-B14F-4D97-AF65-F5344CB8AC3E}">
        <p14:creationId xmlns:p14="http://schemas.microsoft.com/office/powerpoint/2010/main" val="1540950429"/>
      </p:ext>
    </p:extLst>
  </p:cSld>
  <p:clrMapOvr>
    <a:masterClrMapping/>
  </p:clrMapOvr>
  <p:transition spd="med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690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15563" y="610114"/>
            <a:ext cx="7025228" cy="4613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2"/>
            </a:lvl1pPr>
            <a:lvl2pPr marL="587433" indent="-478388">
              <a:defRPr sz="3322"/>
            </a:lvl2pPr>
            <a:lvl3pPr marL="796141" indent="-458455">
              <a:defRPr sz="3322"/>
            </a:lvl3pPr>
            <a:lvl4pPr>
              <a:defRPr sz="3322"/>
            </a:lvl4pPr>
            <a:lvl5pPr>
              <a:defRPr sz="3322"/>
            </a:lvl5pPr>
          </a:lstStyle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  <p:sp>
        <p:nvSpPr>
          <p:cNvPr id="691" name="Straight Connector 8"/>
          <p:cNvSpPr/>
          <p:nvPr/>
        </p:nvSpPr>
        <p:spPr>
          <a:xfrm>
            <a:off x="604714" y="1181434"/>
            <a:ext cx="11311016" cy="1"/>
          </a:xfrm>
          <a:prstGeom prst="line">
            <a:avLst/>
          </a:prstGeom>
          <a:ln>
            <a:solidFill>
              <a:schemeClr val="accent2">
                <a:lumOff val="21764"/>
              </a:schemeClr>
            </a:solidFill>
            <a:miter/>
          </a:ln>
        </p:spPr>
        <p:txBody>
          <a:bodyPr lIns="44671" rIns="44671"/>
          <a:lstStyle/>
          <a:p>
            <a:pPr eaLnBrk="1"/>
            <a:endParaRPr lang="ru-RU" sz="2247" dirty="0"/>
          </a:p>
        </p:txBody>
      </p:sp>
    </p:spTree>
    <p:extLst>
      <p:ext uri="{BB962C8B-B14F-4D97-AF65-F5344CB8AC3E}">
        <p14:creationId xmlns:p14="http://schemas.microsoft.com/office/powerpoint/2010/main" val="67405086"/>
      </p:ext>
    </p:extLst>
  </p:cSld>
  <p:clrMapOvr>
    <a:masterClrMapping/>
  </p:clrMapOvr>
  <p:transition spd="med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8" name="Picture 22" descr="Picture 22"/>
          <p:cNvPicPr>
            <a:picLocks noChangeAspect="1"/>
          </p:cNvPicPr>
          <p:nvPr/>
        </p:nvPicPr>
        <p:blipFill>
          <a:blip r:embed="rId2">
            <a:extLst/>
          </a:blip>
          <a:srcRect l="29398" t="8741" r="100" b="27"/>
          <a:stretch>
            <a:fillRect/>
          </a:stretch>
        </p:blipFill>
        <p:spPr>
          <a:xfrm flipH="1">
            <a:off x="3586939" y="0"/>
            <a:ext cx="407397" cy="6718300"/>
          </a:xfrm>
          <a:prstGeom prst="rect">
            <a:avLst/>
          </a:prstGeom>
          <a:ln w="12700">
            <a:miter lim="400000"/>
          </a:ln>
        </p:spPr>
      </p:pic>
      <p:sp>
        <p:nvSpPr>
          <p:cNvPr id="699" name="Rectangle 25"/>
          <p:cNvSpPr/>
          <p:nvPr/>
        </p:nvSpPr>
        <p:spPr>
          <a:xfrm>
            <a:off x="3987245" y="-1283"/>
            <a:ext cx="7925354" cy="671958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70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701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15563" y="3195694"/>
            <a:ext cx="1134440" cy="3256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2345"/>
            </a:lvl1pPr>
            <a:lvl2pPr marL="446730" indent="-337686">
              <a:lnSpc>
                <a:spcPct val="90000"/>
              </a:lnSpc>
              <a:defRPr sz="2345"/>
            </a:lvl2pPr>
            <a:lvl3pPr marL="661301" indent="-323616">
              <a:lnSpc>
                <a:spcPct val="90000"/>
              </a:lnSpc>
              <a:defRPr sz="2345"/>
            </a:lvl3pPr>
            <a:lvl4pPr>
              <a:lnSpc>
                <a:spcPct val="90000"/>
              </a:lnSpc>
              <a:defRPr sz="2345"/>
            </a:lvl4pPr>
            <a:lvl5pPr>
              <a:lnSpc>
                <a:spcPct val="90000"/>
              </a:lnSpc>
              <a:defRPr sz="2345"/>
            </a:lvl5pPr>
          </a:lstStyle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</p:spTree>
    <p:extLst>
      <p:ext uri="{BB962C8B-B14F-4D97-AF65-F5344CB8AC3E}">
        <p14:creationId xmlns:p14="http://schemas.microsoft.com/office/powerpoint/2010/main" val="4283249875"/>
      </p:ext>
    </p:extLst>
  </p:cSld>
  <p:clrMapOvr>
    <a:masterClrMapping/>
  </p:clrMapOvr>
  <p:transition spd="med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Freeform 12"/>
          <p:cNvSpPr/>
          <p:nvPr/>
        </p:nvSpPr>
        <p:spPr>
          <a:xfrm>
            <a:off x="-1" y="0"/>
            <a:ext cx="3994623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709" name="Freeform 12"/>
          <p:cNvSpPr/>
          <p:nvPr/>
        </p:nvSpPr>
        <p:spPr>
          <a:xfrm>
            <a:off x="-1" y="0"/>
            <a:ext cx="3994623" cy="67183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17250" y="0"/>
                </a:lnTo>
                <a:lnTo>
                  <a:pt x="21600" y="10800"/>
                </a:lnTo>
                <a:lnTo>
                  <a:pt x="1725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4671" rIns="44671"/>
          <a:lstStyle/>
          <a:p>
            <a:pPr eaLnBrk="1">
              <a:lnSpc>
                <a:spcPct val="90000"/>
              </a:lnSpc>
              <a:spcBef>
                <a:spcPts val="977"/>
              </a:spcBef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710" name="Уровень текста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15561" y="2525420"/>
            <a:ext cx="3100035" cy="17258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5999"/>
              </a:lnSpc>
              <a:spcBef>
                <a:spcPts val="684"/>
              </a:spcBef>
              <a:buClrTx/>
              <a:buSzTx/>
              <a:buFontTx/>
              <a:buNone/>
              <a:defRPr sz="5276"/>
            </a:lvl1pPr>
            <a:lvl2pPr marL="868836" indent="-759792">
              <a:lnSpc>
                <a:spcPct val="105999"/>
              </a:lnSpc>
              <a:spcBef>
                <a:spcPts val="684"/>
              </a:spcBef>
              <a:buClrTx/>
              <a:buFontTx/>
              <a:defRPr sz="5276"/>
            </a:lvl2pPr>
            <a:lvl3pPr marL="1065821" indent="-728135">
              <a:lnSpc>
                <a:spcPct val="105999"/>
              </a:lnSpc>
              <a:spcBef>
                <a:spcPts val="684"/>
              </a:spcBef>
              <a:buClrTx/>
              <a:buFontTx/>
              <a:defRPr sz="5276"/>
            </a:lvl3pPr>
            <a:lvl4pPr>
              <a:lnSpc>
                <a:spcPct val="105999"/>
              </a:lnSpc>
              <a:spcBef>
                <a:spcPts val="684"/>
              </a:spcBef>
              <a:buClrTx/>
              <a:buFontTx/>
              <a:defRPr sz="5276"/>
            </a:lvl4pPr>
            <a:lvl5pPr>
              <a:lnSpc>
                <a:spcPct val="105999"/>
              </a:lnSpc>
              <a:spcBef>
                <a:spcPts val="684"/>
              </a:spcBef>
              <a:buClrTx/>
              <a:buFontTx/>
              <a:defRPr sz="5276"/>
            </a:lvl5pPr>
          </a:lstStyle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  <p:sp>
        <p:nvSpPr>
          <p:cNvPr id="71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pic>
        <p:nvPicPr>
          <p:cNvPr id="712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037398" y="3513685"/>
            <a:ext cx="1333964" cy="33140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8263"/>
                </a:lnTo>
                <a:lnTo>
                  <a:pt x="14706" y="0"/>
                </a:lnTo>
                <a:lnTo>
                  <a:pt x="0" y="0"/>
                </a:lnTo>
                <a:close/>
                <a:moveTo>
                  <a:pt x="14919" y="0"/>
                </a:moveTo>
                <a:lnTo>
                  <a:pt x="2034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4919" y="0"/>
                </a:lnTo>
                <a:close/>
              </a:path>
            </a:pathLst>
          </a:cu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61800202"/>
      </p:ext>
    </p:extLst>
  </p:cSld>
  <p:clrMapOvr>
    <a:masterClrMapping/>
  </p:clrMapOvr>
  <p:transition spd="med"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023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E79EBE0-A4A0-4803-86A5-2B01E256CE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518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269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21665" y="1993159"/>
            <a:ext cx="5567576" cy="1366088"/>
          </a:xfrm>
        </p:spPr>
        <p:txBody>
          <a:bodyPr>
            <a:noAutofit/>
          </a:bodyPr>
          <a:lstStyle>
            <a:lvl1pPr>
              <a:defRPr sz="3518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83091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982209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9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518F87E-BCEE-4B78-9BC8-BCBA23CB3E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335426"/>
            <a:ext cx="10694316" cy="46130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pic>
        <p:nvPicPr>
          <p:cNvPr id="9" name="Picture 8"/>
          <p:cNvPicPr preferRelativeResize="0"/>
          <p:nvPr userDrawn="1"/>
        </p:nvPicPr>
        <p:blipFill rotWithShape="1">
          <a:blip r:embed="rId8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5317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94725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497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486560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10B6E84F-6575-4692-9F1F-EA862D6D92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282"/>
            <a:ext cx="4586820" cy="67195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15562" y="1512817"/>
            <a:ext cx="3373283" cy="146532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127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17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93425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C8D86079-16A5-4583-83D9-129105B78C1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5301" y="2613692"/>
            <a:ext cx="9400021" cy="3135820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1079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77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202336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F1EF036-0B47-4359-A836-22D32225C9C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3" y="3748847"/>
            <a:ext cx="10686165" cy="1999620"/>
          </a:xfrm>
        </p:spPr>
        <p:txBody>
          <a:bodyPr anchor="t">
            <a:noAutofit/>
          </a:bodyPr>
          <a:lstStyle>
            <a:lvl1pPr>
              <a:defRPr sz="5276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04715" y="3605053"/>
            <a:ext cx="11311014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3817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2775204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BB42F98-CBFD-44FD-949C-B95FCC99832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71838" y="0"/>
            <a:ext cx="407396" cy="67183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986019" cy="6718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0817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4129806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1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BFA6696F-3537-4CCF-800B-5566B89EC49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01395" y="0"/>
            <a:ext cx="407396" cy="67183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007599" cy="6718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9149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1608286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4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FB6152E9-2596-42A2-81C0-B966B02AA42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987246" y="-1282"/>
            <a:ext cx="7925354" cy="67195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514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378070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A942AF5-5589-4A81-90A4-2C62CCA44FC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9196" y="0"/>
            <a:ext cx="407396" cy="67183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52413" y="0"/>
            <a:ext cx="5960186" cy="67183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759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icon</a:t>
            </a:r>
            <a:r>
              <a:rPr lang="ru-RU" dirty="0"/>
              <a:t> </a:t>
            </a:r>
            <a:r>
              <a:rPr lang="ru-RU" dirty="0" err="1"/>
              <a:t>below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insert</a:t>
            </a:r>
            <a:r>
              <a:rPr lang="ru-RU" dirty="0"/>
              <a:t> </a:t>
            </a:r>
            <a:r>
              <a:rPr lang="ru-RU" dirty="0" err="1"/>
              <a:t>an</a:t>
            </a:r>
            <a:r>
              <a:rPr lang="ru-RU" dirty="0"/>
              <a:t> </a:t>
            </a:r>
            <a:r>
              <a:rPr lang="ru-RU" dirty="0" err="1"/>
              <a:t>imag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remove</a:t>
            </a:r>
            <a:r>
              <a:rPr lang="ru-RU" dirty="0"/>
              <a:t> </a:t>
            </a:r>
            <a:r>
              <a:rPr lang="ru-RU" dirty="0" err="1"/>
              <a:t>this</a:t>
            </a:r>
            <a:r>
              <a:rPr lang="ru-RU" dirty="0"/>
              <a:t> </a:t>
            </a:r>
            <a:r>
              <a:rPr lang="ru-RU" dirty="0" err="1"/>
              <a:t>placeholder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use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whitespace</a:t>
            </a:r>
            <a:r>
              <a:rPr lang="ru-RU" dirty="0"/>
              <a:t> </a:t>
            </a:r>
            <a:r>
              <a:rPr lang="ru-RU" dirty="0" err="1"/>
              <a:t>in</a:t>
            </a:r>
            <a:r>
              <a:rPr lang="ru-RU" dirty="0"/>
              <a:t> </a:t>
            </a:r>
            <a:r>
              <a:rPr lang="ru-RU" dirty="0" err="1"/>
              <a:t>another</a:t>
            </a:r>
            <a:r>
              <a:rPr lang="ru-RU" dirty="0"/>
              <a:t> </a:t>
            </a:r>
            <a:r>
              <a:rPr lang="ru-RU" dirty="0" err="1"/>
              <a:t>way</a:t>
            </a:r>
            <a:endParaRPr lang="ru-RU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15562" y="1749227"/>
            <a:ext cx="4287833" cy="321984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385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0839680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9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4353AA1-4C6A-4C1A-AFAF-34740BDD82F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40040" y="0"/>
            <a:ext cx="407396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640346" y="0"/>
            <a:ext cx="4272255" cy="6718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40817" y="0"/>
            <a:ext cx="4271784" cy="67183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563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icon</a:t>
            </a:r>
            <a:r>
              <a:rPr lang="ru-RU" dirty="0"/>
              <a:t> </a:t>
            </a:r>
            <a:r>
              <a:rPr lang="ru-RU" dirty="0" err="1"/>
              <a:t>below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insert</a:t>
            </a:r>
            <a:r>
              <a:rPr lang="ru-RU" dirty="0"/>
              <a:t> </a:t>
            </a:r>
            <a:r>
              <a:rPr lang="ru-RU" dirty="0" err="1"/>
              <a:t>an</a:t>
            </a:r>
            <a:r>
              <a:rPr lang="ru-RU" dirty="0"/>
              <a:t> </a:t>
            </a:r>
            <a:r>
              <a:rPr lang="ru-RU" dirty="0" err="1"/>
              <a:t>imag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remove</a:t>
            </a:r>
            <a:r>
              <a:rPr lang="ru-RU" dirty="0"/>
              <a:t> </a:t>
            </a:r>
            <a:r>
              <a:rPr lang="ru-RU" dirty="0" err="1"/>
              <a:t>this</a:t>
            </a:r>
            <a:r>
              <a:rPr lang="ru-RU" dirty="0"/>
              <a:t> </a:t>
            </a:r>
            <a:r>
              <a:rPr lang="ru-RU" dirty="0" err="1"/>
              <a:t>placeholder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use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whitespace</a:t>
            </a:r>
            <a:r>
              <a:rPr lang="ru-RU" dirty="0"/>
              <a:t> </a:t>
            </a:r>
            <a:r>
              <a:rPr lang="ru-RU" dirty="0" err="1"/>
              <a:t>in</a:t>
            </a:r>
            <a:r>
              <a:rPr lang="ru-RU" dirty="0"/>
              <a:t> </a:t>
            </a:r>
            <a:r>
              <a:rPr lang="ru-RU" dirty="0" err="1"/>
              <a:t>another</a:t>
            </a:r>
            <a:r>
              <a:rPr lang="ru-RU" dirty="0"/>
              <a:t> </a:t>
            </a:r>
            <a:r>
              <a:rPr lang="ru-RU" dirty="0" err="1"/>
              <a:t>way</a:t>
            </a:r>
            <a:endParaRPr lang="ru-RU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375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2" y="1767888"/>
            <a:ext cx="6104379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3655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486833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EEA5ADB-9038-44D4-A0E6-BB1D592E8D7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>
                <a:solidFill>
                  <a:schemeClr val="tx2"/>
                </a:solidFill>
              </a:rPr>
              <a:t>Click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to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add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title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657" y="3517261"/>
            <a:ext cx="1333963" cy="3314050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1348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803753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763E397F-7FFC-4576-BE6D-DBCEB32DB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</p:spPr>
        <p:txBody>
          <a:bodyPr anchor="ctr" anchorCtr="0">
            <a:noAutofit/>
          </a:bodyPr>
          <a:lstStyle>
            <a:lvl1pPr>
              <a:defRPr sz="3127" baseline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24807" y="3333512"/>
            <a:ext cx="2632913" cy="339122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9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3277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49763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86" y="-1"/>
            <a:ext cx="11914359" cy="67183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59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eaLnBrk="1">
                <a:lnSpc>
                  <a:spcPct val="90000"/>
                </a:lnSpc>
                <a:spcAft>
                  <a:spcPts val="977"/>
                </a:spcAft>
              </a:pPr>
              <a:endParaRPr lang="ru-RU" sz="1173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xxxx  2. xxxx  3. xxxx</a:t>
              </a:r>
            </a:p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  <a:endParaRPr kumimoji="0" lang="ru-RU" sz="977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45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9023904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3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219F27C5-7719-46AB-B617-7B4962001AB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532" y="3325247"/>
            <a:ext cx="1268816" cy="349911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03895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440392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108F07B-2C8C-40D5-ADEE-8CC8268DDF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496062" y="3346709"/>
            <a:ext cx="2632913" cy="3371591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9473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5211276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1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9B60CC9-7152-4C57-97AF-5CAB4E9B66D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4566542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106" y="3516484"/>
            <a:ext cx="1333963" cy="3314050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732963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31363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DEC81ACB-2038-4BB7-B860-324D947CB5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4566542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57960" y="3338385"/>
            <a:ext cx="2632913" cy="33861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2815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3723888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5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BFE6CED6-756F-46A1-8DB3-2E3F7530FCF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685" y="3516484"/>
            <a:ext cx="1333963" cy="3314050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51145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13684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CBC1D992-E25D-4F2E-8666-1EA4DF1E08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17120" y="3338385"/>
            <a:ext cx="2632913" cy="33861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6983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421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78235C55-D070-48C9-B329-1336E0753EE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8625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68004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D8ABFC12-FBE2-4853-A4AC-3A032300FF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5562" y="612734"/>
            <a:ext cx="911314" cy="913689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94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54451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40707" y="112134"/>
            <a:ext cx="753587" cy="979020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1912600" cy="574781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89345" tIns="44672" rIns="89345" bIns="44672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ru-RU" sz="2247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485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239086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7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64FDCB52-2866-4BF8-8AE9-1B81E16CAC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10682648" cy="461306"/>
          </a:xfrm>
        </p:spPr>
        <p:txBody>
          <a:bodyPr/>
          <a:lstStyle>
            <a:lvl1pPr>
              <a:defRPr sz="3322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81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9999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B1C33DB-B806-42B5-AFC2-6D926CBCE4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518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821665" y="1993159"/>
            <a:ext cx="5567576" cy="1366088"/>
          </a:xfrm>
        </p:spPr>
        <p:txBody>
          <a:bodyPr>
            <a:noAutofit/>
          </a:bodyPr>
          <a:lstStyle>
            <a:lvl1pPr>
              <a:defRPr sz="3518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374068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55948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768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241131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2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473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09565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632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82915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7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462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4971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9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63315D7-C75E-4112-BA6A-A84AC7760E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518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821665" y="1993159"/>
            <a:ext cx="5567576" cy="1366088"/>
          </a:xfrm>
        </p:spPr>
        <p:txBody>
          <a:bodyPr>
            <a:noAutofit/>
          </a:bodyPr>
          <a:lstStyle>
            <a:lvl1pPr>
              <a:defRPr sz="3518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136962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706038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2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80449AC-BFCF-4E17-84B5-876DEF9F64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15562" y="403266"/>
            <a:ext cx="10662731" cy="325628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8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590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346654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4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B720588-9CB6-4C7B-A680-3234733FFB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282"/>
            <a:ext cx="4586820" cy="67195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15563" y="2115008"/>
            <a:ext cx="3658200" cy="5306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63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46730" indent="0" algn="ctr">
              <a:buNone/>
              <a:defRPr sz="1954"/>
            </a:lvl2pPr>
            <a:lvl3pPr marL="893460" indent="0" algn="ctr">
              <a:buNone/>
              <a:defRPr sz="1759"/>
            </a:lvl3pPr>
            <a:lvl4pPr marL="1340190" indent="0" algn="ctr">
              <a:buNone/>
              <a:defRPr sz="1563"/>
            </a:lvl4pPr>
            <a:lvl5pPr marL="1786920" indent="0" algn="ctr">
              <a:buNone/>
              <a:defRPr sz="1563"/>
            </a:lvl5pPr>
            <a:lvl6pPr marL="2233651" indent="0" algn="ctr">
              <a:buNone/>
              <a:defRPr sz="1563"/>
            </a:lvl6pPr>
            <a:lvl7pPr marL="2680381" indent="0" algn="ctr">
              <a:buNone/>
              <a:defRPr sz="1563"/>
            </a:lvl7pPr>
            <a:lvl8pPr marL="3127111" indent="0" algn="ctr">
              <a:buNone/>
              <a:defRPr sz="1563"/>
            </a:lvl8pPr>
            <a:lvl9pPr marL="3573841" indent="0" algn="ctr">
              <a:buNone/>
              <a:defRPr sz="1563"/>
            </a:lvl9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subtitle</a:t>
            </a:r>
            <a:endParaRPr lang="ru-RU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1202053"/>
            <a:ext cx="3658200" cy="651255"/>
          </a:xfrm>
        </p:spPr>
        <p:txBody>
          <a:bodyPr anchor="t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32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49653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7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9372BCC-11ED-4629-A69C-9DDA55C9B7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5301" y="2613692"/>
            <a:ext cx="9400021" cy="313582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6E6F73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section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51344" y="1395072"/>
            <a:ext cx="929911" cy="932334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7073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1817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98835DF-849C-4848-9E1C-A3E4C9F5D5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3" y="3748847"/>
            <a:ext cx="10686165" cy="1999620"/>
          </a:xfrm>
          <a:ln/>
        </p:spPr>
        <p:txBody>
          <a:bodyPr anchor="t">
            <a:noAutofit/>
          </a:bodyPr>
          <a:lstStyle>
            <a:lvl1pPr>
              <a:defRPr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section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15563" y="3605053"/>
            <a:ext cx="11293703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19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3848711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1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4D3AB76-8E40-45E0-9593-FDE13B42B86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71838" y="0"/>
            <a:ext cx="407396" cy="67183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986019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2763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78964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2D499EF-F77F-4566-8D9F-EE2002539E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15562" y="403266"/>
            <a:ext cx="10662731" cy="325628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8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6892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009422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4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C77CF752-93D2-4606-B0E1-75D4B05B8E1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01395" y="0"/>
            <a:ext cx="407396" cy="67183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007599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610114"/>
            <a:ext cx="6132692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642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093372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6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54AC2149-8AC6-4E14-9BAF-2C6DF5D702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22326" y="0"/>
            <a:ext cx="407396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8827237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7915923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7219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729305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9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61D9EAC-6116-49FA-AB31-C55E533A1AC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987246" y="-1282"/>
            <a:ext cx="7925354" cy="671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332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9930753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1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B3B410E6-3F7E-4E34-A04F-AC37F5DCA25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9196" y="0"/>
            <a:ext cx="407396" cy="67183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52413" y="0"/>
            <a:ext cx="5960186" cy="67183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59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icon</a:t>
            </a:r>
            <a:r>
              <a:rPr lang="ru-RU" dirty="0"/>
              <a:t> </a:t>
            </a:r>
            <a:r>
              <a:rPr lang="ru-RU" dirty="0" err="1"/>
              <a:t>below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insert</a:t>
            </a:r>
            <a:r>
              <a:rPr lang="ru-RU" dirty="0"/>
              <a:t> </a:t>
            </a:r>
            <a:r>
              <a:rPr lang="ru-RU" dirty="0" err="1"/>
              <a:t>an</a:t>
            </a:r>
            <a:r>
              <a:rPr lang="ru-RU" dirty="0"/>
              <a:t> </a:t>
            </a:r>
            <a:r>
              <a:rPr lang="ru-RU" dirty="0" err="1"/>
              <a:t>imag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remove</a:t>
            </a:r>
            <a:r>
              <a:rPr lang="ru-RU" dirty="0"/>
              <a:t> </a:t>
            </a:r>
            <a:r>
              <a:rPr lang="ru-RU" dirty="0" err="1"/>
              <a:t>this</a:t>
            </a:r>
            <a:r>
              <a:rPr lang="ru-RU" dirty="0"/>
              <a:t> </a:t>
            </a:r>
            <a:r>
              <a:rPr lang="ru-RU" dirty="0" err="1"/>
              <a:t>placeholder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use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whitespace</a:t>
            </a:r>
            <a:r>
              <a:rPr lang="ru-RU" dirty="0"/>
              <a:t> </a:t>
            </a:r>
            <a:r>
              <a:rPr lang="ru-RU" dirty="0" err="1"/>
              <a:t>in</a:t>
            </a:r>
            <a:r>
              <a:rPr lang="ru-RU" dirty="0"/>
              <a:t> </a:t>
            </a:r>
            <a:r>
              <a:rPr lang="ru-RU" dirty="0" err="1"/>
              <a:t>another</a:t>
            </a:r>
            <a:r>
              <a:rPr lang="ru-RU" dirty="0"/>
              <a:t> </a:t>
            </a:r>
            <a:r>
              <a:rPr lang="ru-RU" dirty="0" err="1"/>
              <a:t>way</a:t>
            </a:r>
            <a:endParaRPr lang="ru-RU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2" y="1749227"/>
            <a:ext cx="4287833" cy="321984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758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916854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3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D8340502-076D-4AC0-B630-9BC2E7F8339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40040" y="0"/>
            <a:ext cx="407396" cy="67183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640346" y="0"/>
            <a:ext cx="4272255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40817" y="0"/>
            <a:ext cx="4271784" cy="67183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3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icon</a:t>
            </a:r>
            <a:r>
              <a:rPr lang="ru-RU" dirty="0"/>
              <a:t> </a:t>
            </a:r>
            <a:r>
              <a:rPr lang="ru-RU" dirty="0" err="1"/>
              <a:t>below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insert</a:t>
            </a:r>
            <a:r>
              <a:rPr lang="ru-RU" dirty="0"/>
              <a:t> </a:t>
            </a:r>
            <a:r>
              <a:rPr lang="ru-RU" dirty="0" err="1"/>
              <a:t>an</a:t>
            </a:r>
            <a:r>
              <a:rPr lang="ru-RU" dirty="0"/>
              <a:t> </a:t>
            </a:r>
            <a:r>
              <a:rPr lang="ru-RU" dirty="0" err="1"/>
              <a:t>imag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remove</a:t>
            </a:r>
            <a:r>
              <a:rPr lang="ru-RU" dirty="0"/>
              <a:t> </a:t>
            </a:r>
            <a:r>
              <a:rPr lang="ru-RU" dirty="0" err="1"/>
              <a:t>this</a:t>
            </a:r>
            <a:r>
              <a:rPr lang="ru-RU" dirty="0"/>
              <a:t> </a:t>
            </a:r>
            <a:r>
              <a:rPr lang="ru-RU" dirty="0" err="1"/>
              <a:t>placeholder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use</a:t>
            </a:r>
            <a:r>
              <a:rPr lang="ru-RU" dirty="0"/>
              <a:t> </a:t>
            </a:r>
            <a:r>
              <a:rPr lang="ru-RU" dirty="0" err="1"/>
              <a:t>the</a:t>
            </a:r>
            <a:r>
              <a:rPr lang="ru-RU" dirty="0"/>
              <a:t> </a:t>
            </a:r>
            <a:r>
              <a:rPr lang="ru-RU" dirty="0" err="1"/>
              <a:t>whitespace</a:t>
            </a:r>
            <a:r>
              <a:rPr lang="ru-RU" dirty="0"/>
              <a:t> </a:t>
            </a:r>
            <a:r>
              <a:rPr lang="ru-RU" dirty="0" err="1"/>
              <a:t>in</a:t>
            </a:r>
            <a:r>
              <a:rPr lang="ru-RU" dirty="0"/>
              <a:t> </a:t>
            </a:r>
            <a:r>
              <a:rPr lang="ru-RU" dirty="0" err="1"/>
              <a:t>another</a:t>
            </a:r>
            <a:r>
              <a:rPr lang="ru-RU" dirty="0"/>
              <a:t> </a:t>
            </a:r>
            <a:r>
              <a:rPr lang="ru-RU" dirty="0" err="1"/>
              <a:t>way</a:t>
            </a:r>
            <a:endParaRPr lang="ru-RU" dirty="0"/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16477" y="1749227"/>
            <a:ext cx="6104379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8790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0991633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63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A4708403-45FE-4219-8483-37E9CA92218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>
                <a:solidFill>
                  <a:schemeClr val="tx2"/>
                </a:solidFill>
              </a:rPr>
              <a:t>Click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to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add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title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657" y="3517261"/>
            <a:ext cx="1333963" cy="3314050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5785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146070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8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500A4D4-2D3B-4259-95BB-687305CF15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24807" y="3333512"/>
            <a:ext cx="2632913" cy="339122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2636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1992481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1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D91DA2F-6073-4386-9CBF-0E155A5FFB6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532" y="3325247"/>
            <a:ext cx="1268816" cy="349911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9269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39269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A90349E-3149-4A3C-809A-9B6BE01E3B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496062" y="3346709"/>
            <a:ext cx="2632913" cy="3371591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553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569408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5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B4007DA7-C350-4FC1-B11D-D84E34EA9E4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4639018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106" y="3516484"/>
            <a:ext cx="1333963" cy="3314050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3118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38253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6845FF2F-B662-4756-AADE-FB8A010168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282"/>
            <a:ext cx="4586820" cy="67195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15562" y="1512817"/>
            <a:ext cx="3373283" cy="146532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127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68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35881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B0B93DF-0A04-46DD-ABE9-D669DAB3A7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282"/>
            <a:ext cx="4586820" cy="67195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15563" y="2115008"/>
            <a:ext cx="3658200" cy="5306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63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46730" indent="0" algn="ctr">
              <a:buNone/>
              <a:defRPr sz="1954"/>
            </a:lvl2pPr>
            <a:lvl3pPr marL="893460" indent="0" algn="ctr">
              <a:buNone/>
              <a:defRPr sz="1759"/>
            </a:lvl3pPr>
            <a:lvl4pPr marL="1340190" indent="0" algn="ctr">
              <a:buNone/>
              <a:defRPr sz="1563"/>
            </a:lvl4pPr>
            <a:lvl5pPr marL="1786920" indent="0" algn="ctr">
              <a:buNone/>
              <a:defRPr sz="1563"/>
            </a:lvl5pPr>
            <a:lvl6pPr marL="2233651" indent="0" algn="ctr">
              <a:buNone/>
              <a:defRPr sz="1563"/>
            </a:lvl6pPr>
            <a:lvl7pPr marL="2680381" indent="0" algn="ctr">
              <a:buNone/>
              <a:defRPr sz="1563"/>
            </a:lvl7pPr>
            <a:lvl8pPr marL="3127111" indent="0" algn="ctr">
              <a:buNone/>
              <a:defRPr sz="1563"/>
            </a:lvl8pPr>
            <a:lvl9pPr marL="3573841" indent="0" algn="ctr">
              <a:buNone/>
              <a:defRPr sz="1563"/>
            </a:lvl9pPr>
          </a:lstStyle>
          <a:p>
            <a:r>
              <a:rPr lang="ru-RU"/>
              <a:t>Click to add subtitle</a:t>
            </a:r>
            <a:endParaRPr lang="ru-RU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1202053"/>
            <a:ext cx="3658200" cy="651255"/>
          </a:xfrm>
        </p:spPr>
        <p:txBody>
          <a:bodyPr anchor="t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984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54734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87BB5939-6634-43E2-B350-A5F898837E9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4639018" cy="325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57960" y="3338385"/>
            <a:ext cx="2632913" cy="33861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5945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723195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0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C46CD507-71EB-4714-B85B-16A35A9805A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6111164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685" y="3516484"/>
            <a:ext cx="1333963" cy="3314050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46397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5387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9146E5F7-4A39-443C-BBB2-5092FC062B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6111164" cy="325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17120" y="3338385"/>
            <a:ext cx="2632913" cy="33861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90464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00164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5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1C6195A-64FC-430F-A091-263A30D7984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9572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635072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7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77A3A2B-6832-4F87-835E-745EEB9C21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5562" y="612734"/>
            <a:ext cx="911314" cy="913689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big</a:t>
            </a:r>
            <a:r>
              <a:rPr lang="ru-RU" dirty="0"/>
              <a:t> </a:t>
            </a:r>
            <a:r>
              <a:rPr lang="ru-RU" dirty="0" err="1"/>
              <a:t>statement</a:t>
            </a:r>
            <a:r>
              <a:rPr lang="ru-RU" dirty="0"/>
              <a:t> </a:t>
            </a:r>
            <a:r>
              <a:rPr lang="ru-RU" dirty="0" err="1"/>
              <a:t>text</a:t>
            </a:r>
            <a:endParaRPr lang="ru-RU" dirty="0"/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76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02977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0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40707" y="112134"/>
            <a:ext cx="753587" cy="979020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1912600" cy="574781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89345" tIns="44672" rIns="89345" bIns="44672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ru-RU" sz="2247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568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244326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2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07DECFE6-5AC9-4A57-8CF3-6D00E17161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106826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5993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5990941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5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5562" y="2548738"/>
            <a:ext cx="2915672" cy="16792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4"/>
              </a:spcAft>
              <a:buFontTx/>
              <a:buNone/>
            </a:pP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</a:t>
            </a:r>
            <a:r>
              <a:rPr lang="ru-RU" sz="5276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of</a:t>
            </a:r>
            <a:r>
              <a:rPr lang="ru-RU" sz="5276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contents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398" y="3513685"/>
            <a:ext cx="1333963" cy="3314050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041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119144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73543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38888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9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67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813147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68DE874-CB91-4BFC-85D4-76A5E3B0CA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5301" y="2613692"/>
            <a:ext cx="9400021" cy="313582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6E6F73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section title</a:t>
            </a:r>
            <a:endParaRPr lang="ru-RU" dirty="0"/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51344" y="1395072"/>
            <a:ext cx="929911" cy="932334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527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28694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55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94659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4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562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789596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7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56334" y="4595626"/>
            <a:ext cx="908040" cy="975588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451973" y="4595626"/>
            <a:ext cx="1534169" cy="1438269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8689" tIns="175875" rIns="178689" bIns="1786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>
              <a:lnSpc>
                <a:spcPct val="95000"/>
              </a:lnSpc>
            </a:pPr>
            <a:endParaRPr lang="ru-RU" sz="1173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15563" y="888719"/>
            <a:ext cx="3369765" cy="35155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97975" tIns="457275" rIns="0" bIns="0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586"/>
              </a:spcAft>
            </a:pP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54983" y="1092694"/>
            <a:ext cx="2690222" cy="8638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5276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5276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249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545012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0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55748" y="2613260"/>
            <a:ext cx="9398760" cy="3135207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157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022929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15563" y="610113"/>
            <a:ext cx="7025227" cy="4613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3322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322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04715" y="1181433"/>
            <a:ext cx="11311014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6256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6172715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987246" y="-1282"/>
            <a:ext cx="7925354" cy="67195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15563" y="3142373"/>
            <a:ext cx="1511688" cy="4341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3127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127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944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27745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56334" y="4595626"/>
            <a:ext cx="908040" cy="975588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451973" y="4595626"/>
            <a:ext cx="1534169" cy="1438269"/>
          </a:xfrm>
          <a:prstGeom prst="rect">
            <a:avLst/>
          </a:prstGeom>
          <a:noFill/>
          <a:ln w="9525" cmpd="sng">
            <a:solidFill>
              <a:srgbClr val="6E6F7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8689" tIns="175875" rIns="178689" bIns="1786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>
              <a:lnSpc>
                <a:spcPct val="95000"/>
              </a:lnSpc>
            </a:pPr>
            <a:endParaRPr lang="ru-RU" sz="1173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5563" y="888718"/>
            <a:ext cx="3369765" cy="3540383"/>
          </a:xfrm>
          <a:prstGeom prst="rect">
            <a:avLst/>
          </a:prstGeom>
          <a:noFill/>
          <a:ln>
            <a:solidFill>
              <a:srgbClr val="6E6F73"/>
            </a:solidFill>
          </a:ln>
        </p:spPr>
        <p:txBody>
          <a:bodyPr wrap="square" lIns="597975" tIns="457275" rIns="0" bIns="0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586"/>
              </a:spcAft>
            </a:pPr>
            <a:endParaRPr lang="ru-RU" sz="5276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54983" y="1092694"/>
            <a:ext cx="2690221" cy="8638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3243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6218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55748" y="2613260"/>
            <a:ext cx="9398760" cy="3135207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705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86034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15563" y="610113"/>
            <a:ext cx="7025227" cy="4613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3322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322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04715" y="1181433"/>
            <a:ext cx="11311014" cy="0"/>
          </a:xfrm>
          <a:prstGeom prst="line">
            <a:avLst/>
          </a:prstGeom>
          <a:ln w="9525" cmpd="sng">
            <a:solidFill>
              <a:srgbClr val="6E6F7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919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891013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987246" y="-1282"/>
            <a:ext cx="7925354" cy="671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15563" y="3195694"/>
            <a:ext cx="1134440" cy="3256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2345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2345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914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61346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D1A83E10-9D05-4BA4-A51A-525EA05995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3" y="3748847"/>
            <a:ext cx="10686165" cy="1999620"/>
          </a:xfrm>
          <a:ln/>
        </p:spPr>
        <p:txBody>
          <a:bodyPr anchor="t">
            <a:noAutofit/>
          </a:bodyPr>
          <a:lstStyle>
            <a:lvl1pPr>
              <a:defRPr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section title</a:t>
            </a:r>
            <a:endParaRPr lang="ru-RU" dirty="0"/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15563" y="3605053"/>
            <a:ext cx="11293703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953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092092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5562" y="2548738"/>
            <a:ext cx="3100034" cy="16792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4"/>
              </a:spcAft>
              <a:buFontTx/>
              <a:buNone/>
            </a:pP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</a:t>
            </a:r>
            <a:r>
              <a:rPr lang="ru-RU" sz="5276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of</a:t>
            </a:r>
            <a:r>
              <a:rPr lang="ru-RU" sz="5276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5276" dirty="0" err="1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contents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© 2018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y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The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84" dirty="0" err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84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398" y="3513685"/>
            <a:ext cx="1333963" cy="3314050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55860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02164EC-5469-44CE-B011-6DBC24AE71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0911761"/>
              </p:ext>
            </p:extLst>
          </p:nvPr>
        </p:nvGraphicFramePr>
        <p:xfrm>
          <a:off x="1551" y="1555"/>
          <a:ext cx="1552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02164EC-5469-44CE-B011-6DBC24AE7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1" y="1555"/>
                        <a:ext cx="1552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406076" y="2943085"/>
            <a:ext cx="11100448" cy="83213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 eaLnBrk="1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9pPr>
          </a:lstStyle>
          <a:p>
            <a:endParaRPr lang="ru-RU" dirty="0"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11037730" y="6090968"/>
            <a:ext cx="714834" cy="51411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222364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0D256B3A-F2DC-4518-96F6-F85B7EDEAC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000733"/>
              </p:ext>
            </p:extLst>
          </p:nvPr>
        </p:nvGraphicFramePr>
        <p:xfrm>
          <a:off x="1551" y="1555"/>
          <a:ext cx="1552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0D256B3A-F2DC-4518-96F6-F85B7EDEA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1" y="1555"/>
                        <a:ext cx="1552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3C626A0E-93CB-4F71-B58B-C852DDD840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640A36A-5A1C-4844-A53D-A5F17BA4F3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F1D5379-805C-4CAF-BADC-10E7C8D701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A608DAF-70BD-45FE-93ED-5A201B07D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419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215613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B4154448-3876-4C3F-B8D2-38CCCD26200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71838" y="0"/>
            <a:ext cx="407396" cy="67183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986019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3594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327075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C64AB945-8EEC-481B-9D0A-12E365DA137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01395" y="0"/>
            <a:ext cx="407396" cy="67183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007599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610114"/>
            <a:ext cx="6132692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2814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9772390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BA4D0E89-2189-4B35-A066-2464448C4A2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22326" y="0"/>
            <a:ext cx="407396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8827237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7915923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7537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2904605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88AC808-ACFF-4FD3-98A8-BF539AC0D83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987246" y="-1282"/>
            <a:ext cx="7925354" cy="671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731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8220148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C66C5FF9-AE47-4E41-90B9-40A08FCCB9F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9196" y="0"/>
            <a:ext cx="407396" cy="67183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52413" y="0"/>
            <a:ext cx="5960186" cy="67183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59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icon below to insert an image or remove this placeholder to use the whitespace in another way</a:t>
            </a:r>
            <a:endParaRPr lang="ru-RU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2" y="1749227"/>
            <a:ext cx="4287833" cy="321984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800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9537112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D124E21-E4F9-4180-8117-899BBA79FBE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40040" y="0"/>
            <a:ext cx="407396" cy="67183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640346" y="0"/>
            <a:ext cx="4272255" cy="671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40817" y="0"/>
            <a:ext cx="4271784" cy="67183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563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icon below to insert an image or remove this placeholder to use the whitespace in another way</a:t>
            </a:r>
            <a:endParaRPr lang="ru-RU" dirty="0"/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16477" y="1749227"/>
            <a:ext cx="6104379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40493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9607799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5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51C5565A-FCF1-47A6-AA00-2687E8A8B9D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>
                <a:solidFill>
                  <a:schemeClr val="tx2"/>
                </a:solidFill>
              </a:rPr>
              <a:t>Click to add title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657" y="3517261"/>
            <a:ext cx="1333963" cy="3314050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2668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04265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0598E88B-DF6E-4753-A88F-895CFCE99E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5301" y="2613692"/>
            <a:ext cx="9400021" cy="3135820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1079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995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55323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57DDE9C-A72C-458F-BB1B-BB7C2D445E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24807" y="3333512"/>
            <a:ext cx="2632913" cy="339122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0306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2592176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0E5273C-35A3-4FDA-A6C9-AF5256CAA42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532" y="3325247"/>
            <a:ext cx="1268816" cy="349911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5936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18738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CAB8787-8ABF-4744-AE58-6F1DA781CE6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496062" y="3346709"/>
            <a:ext cx="2632913" cy="3371591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087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1101139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DB40C13-05FE-4980-9067-FF5D1AFCFEA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4639018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106" y="3516484"/>
            <a:ext cx="1333963" cy="3314050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24017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976651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3BCB2CDE-24EA-4C97-AC25-3DD42760A71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4639018" cy="325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57960" y="3338385"/>
            <a:ext cx="2632913" cy="33861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3360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2957747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407E2E50-A3E5-4F09-B8F6-94F261AF385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6111164" cy="32562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685" y="3516484"/>
            <a:ext cx="1333963" cy="3314050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32927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114671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  <a:tileRect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D2ACC9CF-E6B8-4383-AB7C-DC4D8E457F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6111164" cy="325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17120" y="3338385"/>
            <a:ext cx="2632913" cy="33861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9450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9098709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B5950AF-56E2-4B2E-B92A-F189B2553F8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7284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21914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B70FD8AB-9A67-4682-AE78-4625859BA6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5562" y="612734"/>
            <a:ext cx="911314" cy="913689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541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83097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40707" y="112134"/>
            <a:ext cx="753587" cy="979020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1912600" cy="574781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89345" tIns="44672" rIns="89345" bIns="44672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ru-RU" sz="2247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6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719645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F057922-FBE6-466A-BDCE-61222897ED9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3" y="3748847"/>
            <a:ext cx="10686165" cy="1999620"/>
          </a:xfrm>
        </p:spPr>
        <p:txBody>
          <a:bodyPr anchor="t">
            <a:noAutofit/>
          </a:bodyPr>
          <a:lstStyle>
            <a:lvl1pPr>
              <a:defRPr sz="5276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04715" y="3605053"/>
            <a:ext cx="11311014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328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804424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A0D11188-B54C-4C3A-A094-B2E0A6E494E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610114"/>
            <a:ext cx="10682648" cy="32562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32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8405335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5562" y="2548738"/>
            <a:ext cx="2915672" cy="16792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4"/>
              </a:spcAft>
              <a:buFontTx/>
              <a:buNone/>
            </a:pPr>
            <a:r>
              <a:rPr lang="ru-RU"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398" y="3513685"/>
            <a:ext cx="1333963" cy="3314050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3052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799115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850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388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66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70586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514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86278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4228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40701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586" y="-1"/>
            <a:ext cx="11914359" cy="67183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59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eaLnBrk="1">
                <a:lnSpc>
                  <a:spcPct val="90000"/>
                </a:lnSpc>
                <a:spcAft>
                  <a:spcPts val="977"/>
                </a:spcAft>
              </a:pPr>
              <a:endParaRPr lang="ru-RU" sz="1173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xxxx  2. xxxx  3. xxxx</a:t>
              </a:r>
            </a:p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  <a:endParaRPr kumimoji="0" lang="ru-RU" sz="977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4396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4038563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56334" y="4595626"/>
            <a:ext cx="908040" cy="975588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451973" y="4595626"/>
            <a:ext cx="1534169" cy="1438269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8689" tIns="175875" rIns="178689" bIns="1786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>
              <a:lnSpc>
                <a:spcPct val="95000"/>
              </a:lnSpc>
            </a:pPr>
            <a:endParaRPr lang="ru-RU" sz="1173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15563" y="888719"/>
            <a:ext cx="3369765" cy="35155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597975" tIns="457275" rIns="0" bIns="0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586"/>
              </a:spcAft>
            </a:pP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48603" y="1092695"/>
            <a:ext cx="2702984" cy="8636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5276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5276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96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9286323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55748" y="2613260"/>
            <a:ext cx="9398760" cy="3135207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969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0667843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15563" y="610113"/>
            <a:ext cx="7025227" cy="4613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3322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322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04715" y="1181433"/>
            <a:ext cx="11311014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9082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606380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C9A56202-AAD9-4BD2-9927-DFF3B167057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71838" y="0"/>
            <a:ext cx="407396" cy="67183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986019" cy="6718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12479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57358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987246" y="-1282"/>
            <a:ext cx="7925354" cy="67195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15563" y="3142373"/>
            <a:ext cx="1511688" cy="4341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3127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127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0691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802984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56334" y="4595626"/>
            <a:ext cx="908040" cy="975588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451973" y="4595626"/>
            <a:ext cx="1534169" cy="1438269"/>
          </a:xfrm>
          <a:prstGeom prst="rect">
            <a:avLst/>
          </a:prstGeom>
          <a:noFill/>
          <a:ln w="9525" cmpd="sng">
            <a:solidFill>
              <a:srgbClr val="6E6F7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8689" tIns="175875" rIns="178689" bIns="1786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>
              <a:lnSpc>
                <a:spcPct val="95000"/>
              </a:lnSpc>
            </a:pPr>
            <a:endParaRPr lang="ru-RU" sz="1173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5563" y="888718"/>
            <a:ext cx="3369765" cy="3540383"/>
          </a:xfrm>
          <a:prstGeom prst="rect">
            <a:avLst/>
          </a:prstGeom>
          <a:noFill/>
          <a:ln>
            <a:solidFill>
              <a:srgbClr val="6E6F73"/>
            </a:solidFill>
          </a:ln>
        </p:spPr>
        <p:txBody>
          <a:bodyPr wrap="square" lIns="597975" tIns="457275" rIns="0" bIns="0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586"/>
              </a:spcAft>
            </a:pPr>
            <a:endParaRPr lang="ru-RU" sz="5276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48602" y="1092695"/>
            <a:ext cx="2702984" cy="8636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506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53851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55748" y="2613260"/>
            <a:ext cx="9398760" cy="3135207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</a:pPr>
            <a:endParaRPr lang="ru-RU" sz="1954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8891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387167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15563" y="610113"/>
            <a:ext cx="7025227" cy="4613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3322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3322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04715" y="1181433"/>
            <a:ext cx="11311014" cy="0"/>
          </a:xfrm>
          <a:prstGeom prst="line">
            <a:avLst/>
          </a:prstGeom>
          <a:ln w="9525" cmpd="sng">
            <a:solidFill>
              <a:srgbClr val="6E6F7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5987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2554950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987246" y="-1282"/>
            <a:ext cx="7925354" cy="671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15563" y="3195694"/>
            <a:ext cx="1134440" cy="32562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2345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  <a:endParaRPr lang="ru-RU" sz="2345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180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3236135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15562" y="2548738"/>
            <a:ext cx="3100034" cy="16792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84"/>
              </a:spcAft>
              <a:buFontTx/>
              <a:buNone/>
            </a:pPr>
            <a:r>
              <a:rPr lang="ru-RU"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  <a:endParaRPr lang="ru-RU" sz="5276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398" y="3513685"/>
            <a:ext cx="1333963" cy="3314050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0605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876F4CC8-CFA4-4205-A8DC-114FB6DEB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880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3"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876F4CC8-CFA4-4205-A8DC-114FB6DEB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406076" y="2942064"/>
            <a:ext cx="11100448" cy="834172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 eaLnBrk="1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690"/>
            </a:lvl9pPr>
          </a:lstStyle>
          <a:p>
            <a:endParaRPr lang="ru-RU" dirty="0"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11037730" y="6090968"/>
            <a:ext cx="714834" cy="51411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36116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текст">
  <p:cSld name="Заголовок и текст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/>
          <p:nvPr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037" tIns="45506" rIns="91037" bIns="45506" anchor="ctr" anchorCtr="0">
            <a:noAutofit/>
          </a:bodyPr>
          <a:lstStyle/>
          <a:p>
            <a:pPr marL="0" marR="0" lvl="0" indent="0" algn="ctr" rtl="0" eaLnBrk="1">
              <a:spcBef>
                <a:spcPts val="0"/>
              </a:spcBef>
              <a:spcAft>
                <a:spcPts val="0"/>
              </a:spcAft>
              <a:buNone/>
            </a:pPr>
            <a:endParaRPr lang="ru-RU" sz="2290" b="0" i="0" u="none" strike="noStrike" cap="none" dirty="0">
              <a:solidFill>
                <a:schemeClr val="lt1"/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sp>
        <p:nvSpPr>
          <p:cNvPr id="60" name="Shape 60"/>
          <p:cNvSpPr txBox="1">
            <a:spLocks noGrp="1"/>
          </p:cNvSpPr>
          <p:nvPr>
            <p:ph type="sldNum" idx="12"/>
          </p:nvPr>
        </p:nvSpPr>
        <p:spPr>
          <a:xfrm>
            <a:off x="10574616" y="6111269"/>
            <a:ext cx="1077700" cy="358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95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1pPr>
            <a:lvl2pPr marL="0" marR="0" lvl="1" indent="0" algn="r" rtl="0">
              <a:spcBef>
                <a:spcPts val="0"/>
              </a:spcBef>
              <a:buNone/>
              <a:defRPr sz="1095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2pPr>
            <a:lvl3pPr marL="0" marR="0" lvl="2" indent="0" algn="r" rtl="0">
              <a:spcBef>
                <a:spcPts val="0"/>
              </a:spcBef>
              <a:buNone/>
              <a:defRPr sz="1095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3pPr>
            <a:lvl4pPr marL="0" marR="0" lvl="3" indent="0" algn="r" rtl="0">
              <a:spcBef>
                <a:spcPts val="0"/>
              </a:spcBef>
              <a:buNone/>
              <a:defRPr sz="1095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4pPr>
            <a:lvl5pPr marL="0" marR="0" lvl="4" indent="0" algn="r" rtl="0">
              <a:spcBef>
                <a:spcPts val="0"/>
              </a:spcBef>
              <a:buNone/>
              <a:defRPr sz="1095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5pPr>
            <a:lvl6pPr marL="0" marR="0" lvl="5" indent="0" algn="r" rtl="0">
              <a:spcBef>
                <a:spcPts val="0"/>
              </a:spcBef>
              <a:buNone/>
              <a:defRPr sz="1095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6pPr>
            <a:lvl7pPr marL="0" marR="0" lvl="6" indent="0" algn="r" rtl="0">
              <a:spcBef>
                <a:spcPts val="0"/>
              </a:spcBef>
              <a:buNone/>
              <a:defRPr sz="1095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7pPr>
            <a:lvl8pPr marL="0" marR="0" lvl="7" indent="0" algn="r" rtl="0">
              <a:spcBef>
                <a:spcPts val="0"/>
              </a:spcBef>
              <a:buNone/>
              <a:defRPr sz="1095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8pPr>
            <a:lvl9pPr marL="0" marR="0" lvl="8" indent="0" algn="r" rtl="0">
              <a:spcBef>
                <a:spcPts val="0"/>
              </a:spcBef>
              <a:buNone/>
              <a:defRPr sz="1095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9pPr>
          </a:lstStyle>
          <a:p>
            <a:r>
              <a:rPr lang="ru-RU" dirty="0"/>
              <a:t>СТР</a:t>
            </a:r>
            <a:r>
              <a:rPr lang="ru-RU"/>
              <a:t>. </a:t>
            </a:r>
            <a:fld id="{00000000-1234-1234-1234-12341234123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595630" y="1567607"/>
            <a:ext cx="10721340" cy="4433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9350" tIns="59675" rIns="119350" bIns="59675" anchor="t" anchorCtr="0"/>
          <a:lstStyle>
            <a:lvl1pPr marL="455237" marR="0" lvl="0" indent="-379363" algn="l" rtl="0" eaLnBrk="1">
              <a:spcBef>
                <a:spcPts val="478"/>
              </a:spcBef>
              <a:spcAft>
                <a:spcPts val="0"/>
              </a:spcAft>
              <a:buClr>
                <a:srgbClr val="57595B"/>
              </a:buClr>
              <a:buSzPts val="2400"/>
              <a:buFont typeface="Arial"/>
              <a:buChar char="•"/>
              <a:defRPr sz="2389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1pPr>
            <a:lvl2pPr marL="910473" marR="0" lvl="1" indent="-354073" algn="l" rtl="0">
              <a:spcBef>
                <a:spcPts val="399"/>
              </a:spcBef>
              <a:spcAft>
                <a:spcPts val="0"/>
              </a:spcAft>
              <a:buClr>
                <a:srgbClr val="57595B"/>
              </a:buClr>
              <a:buSzPts val="2000"/>
              <a:buFont typeface="Arial"/>
              <a:buChar char="–"/>
              <a:defRPr sz="1992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2pPr>
            <a:lvl3pPr marL="1365709" marR="0" lvl="2" indent="-328782" algn="l" rtl="0">
              <a:spcBef>
                <a:spcPts val="320"/>
              </a:spcBef>
              <a:spcAft>
                <a:spcPts val="0"/>
              </a:spcAft>
              <a:buClr>
                <a:srgbClr val="57595B"/>
              </a:buClr>
              <a:buSzPts val="1600"/>
              <a:buFont typeface="Arial"/>
              <a:buChar char="•"/>
              <a:defRPr sz="1594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3pPr>
            <a:lvl4pPr marL="1820946" marR="0" lvl="3" indent="-316136" algn="l" rtl="0">
              <a:spcBef>
                <a:spcPts val="278"/>
              </a:spcBef>
              <a:spcAft>
                <a:spcPts val="0"/>
              </a:spcAft>
              <a:buClr>
                <a:srgbClr val="57595B"/>
              </a:buClr>
              <a:buSzPts val="1400"/>
              <a:buFont typeface="Arial"/>
              <a:buChar char="–"/>
              <a:defRPr sz="1394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4pPr>
            <a:lvl5pPr marL="2276182" marR="0" lvl="4" indent="-316136" algn="l" rtl="0">
              <a:spcBef>
                <a:spcPts val="278"/>
              </a:spcBef>
              <a:spcAft>
                <a:spcPts val="0"/>
              </a:spcAft>
              <a:buClr>
                <a:srgbClr val="57595B"/>
              </a:buClr>
              <a:buSzPts val="1400"/>
              <a:buFont typeface="Arial"/>
              <a:buChar char="»"/>
              <a:defRPr sz="1394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5pPr>
            <a:lvl6pPr marL="2731419" marR="0" lvl="5" indent="-392010" algn="l" rtl="0">
              <a:spcBef>
                <a:spcPts val="517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588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6pPr>
            <a:lvl7pPr marL="3186655" marR="0" lvl="6" indent="-392010" algn="l" rtl="0">
              <a:spcBef>
                <a:spcPts val="517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588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7pPr>
            <a:lvl8pPr marL="3641891" marR="0" lvl="7" indent="-392010" algn="l" rtl="0">
              <a:spcBef>
                <a:spcPts val="517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588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8pPr>
            <a:lvl9pPr marL="4097128" marR="0" lvl="8" indent="-392010" algn="l" rtl="0">
              <a:spcBef>
                <a:spcPts val="517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588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9pPr>
          </a:lstStyle>
          <a:p>
            <a:endParaRPr lang="ru-RU" dirty="0"/>
          </a:p>
        </p:txBody>
      </p:sp>
      <p:pic>
        <p:nvPicPr>
          <p:cNvPr id="8" name="Shape 134">
            <a:extLst>
              <a:ext uri="{FF2B5EF4-FFF2-40B4-BE49-F238E27FC236}">
                <a16:creationId xmlns:a16="http://schemas.microsoft.com/office/drawing/2014/main" id="{9331E853-7242-44DE-92DC-28E652CF083C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5199"/>
            <a:ext cx="11912589" cy="104327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Shape 136">
            <a:extLst>
              <a:ext uri="{FF2B5EF4-FFF2-40B4-BE49-F238E27FC236}">
                <a16:creationId xmlns:a16="http://schemas.microsoft.com/office/drawing/2014/main" id="{5F5B941E-444A-449E-9664-69DB36ADFA41}"/>
              </a:ext>
            </a:extLst>
          </p:cNvPr>
          <p:cNvPicPr preferRelativeResize="0"/>
          <p:nvPr userDrawn="1"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8072" y="107775"/>
            <a:ext cx="186618" cy="7958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93299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EC15A58B-C170-44AE-9A74-B9C74122D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89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7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EC15A58B-C170-44AE-9A74-B9C74122DC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F469B8B0-4282-43D4-9F8C-99D82476FD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49812" y="1478026"/>
            <a:ext cx="10820306" cy="4496782"/>
          </a:xfrm>
        </p:spPr>
        <p:txBody>
          <a:bodyPr lIns="0" tIns="0" rIns="0" bIns="0"/>
          <a:lstStyle>
            <a:lvl1pPr>
              <a:spcBef>
                <a:spcPts val="375"/>
              </a:spcBef>
              <a:defRPr/>
            </a:lvl1pPr>
            <a:lvl2pPr marL="446730" indent="-225124">
              <a:spcBef>
                <a:spcPts val="375"/>
              </a:spcBef>
              <a:defRPr/>
            </a:lvl2pPr>
            <a:lvl3pPr marL="893460" indent="-225124">
              <a:spcBef>
                <a:spcPts val="375"/>
              </a:spcBef>
              <a:defRPr/>
            </a:lvl3pPr>
            <a:lvl4pPr marL="1343708" indent="-228641">
              <a:spcBef>
                <a:spcPts val="375"/>
              </a:spcBef>
              <a:defRPr/>
            </a:lvl4pPr>
            <a:lvl5pPr marL="2012044" indent="-225124">
              <a:spcBef>
                <a:spcPts val="375"/>
              </a:spcBef>
              <a:defRPr/>
            </a:lvl5pPr>
          </a:lstStyle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45324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411568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A992830-3B12-46BE-8008-DC3EB8E07A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518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21665" y="1993159"/>
            <a:ext cx="5567576" cy="1366088"/>
          </a:xfrm>
        </p:spPr>
        <p:txBody>
          <a:bodyPr>
            <a:noAutofit/>
          </a:bodyPr>
          <a:lstStyle>
            <a:lvl1pPr>
              <a:defRPr sz="3518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2122776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900106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D0EFCBA9-5CEF-4503-841F-830C75FB5D6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01395" y="0"/>
            <a:ext cx="407396" cy="67183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007599" cy="6718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 preferRelativeResize="0"/>
          <p:nvPr userDrawn="1"/>
        </p:nvPicPr>
        <p:blipFill rotWithShape="1">
          <a:blip r:embed="rId10">
            <a:alphaModFix/>
          </a:blip>
          <a:srcRect l="-57" t="571" r="55" b="32592"/>
          <a:stretch/>
        </p:blipFill>
        <p:spPr>
          <a:xfrm>
            <a:off x="11106435" y="107033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81233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0825451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4231D567-0B38-4FAA-B004-82B5914F2C7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15564" y="335426"/>
            <a:ext cx="10676589" cy="461306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1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pic>
        <p:nvPicPr>
          <p:cNvPr id="9" name="Picture 8"/>
          <p:cNvPicPr preferRelativeResize="0"/>
          <p:nvPr userDrawn="1"/>
        </p:nvPicPr>
        <p:blipFill rotWithShape="1">
          <a:blip r:embed="rId8">
            <a:alphaModFix/>
          </a:blip>
          <a:srcRect l="-57" t="571" r="55" b="32592"/>
          <a:stretch/>
        </p:blipFill>
        <p:spPr>
          <a:xfrm>
            <a:off x="11106435" y="100428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4386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820836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67203B3B-4194-49E4-926D-DEC9A6D82F1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282"/>
            <a:ext cx="4586820" cy="67195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15562" y="1512817"/>
            <a:ext cx="3373283" cy="146532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127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91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575834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F2A21A49-4708-4CFC-AD0C-7EBBE28257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5301" y="2613692"/>
            <a:ext cx="9400021" cy="3135820"/>
          </a:xfrm>
          <a:prstGeom prst="rect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55301" y="1399039"/>
            <a:ext cx="925955" cy="928368"/>
          </a:xfrm>
          <a:prstGeom prst="rect">
            <a:avLst/>
          </a:prstGeom>
          <a:noFill/>
          <a:ln w="1079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28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566820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306A3E6-7917-4CF8-9418-D7C762A8A1D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3" y="3748847"/>
            <a:ext cx="10686165" cy="1999620"/>
          </a:xfrm>
        </p:spPr>
        <p:txBody>
          <a:bodyPr anchor="t">
            <a:noAutofit/>
          </a:bodyPr>
          <a:lstStyle>
            <a:lvl1pPr>
              <a:defRPr sz="5276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04715" y="3605053"/>
            <a:ext cx="11311014" cy="0"/>
          </a:xfrm>
          <a:prstGeom prst="line">
            <a:avLst/>
          </a:prstGeom>
          <a:ln w="1905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45282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939014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47FF271-5A9C-463B-A251-418536F11DF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971838" y="0"/>
            <a:ext cx="407396" cy="67183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986019" cy="6718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0341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520545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02906FCE-140B-40E6-8675-91E633E14C7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001395" y="0"/>
            <a:ext cx="407396" cy="67183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007599" cy="67183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2366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6389280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3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B9010C30-BCA5-4C04-A90A-E8D5A22D209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987246" y="-1282"/>
            <a:ext cx="7925354" cy="67195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728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0366714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4E0A364-C78F-49F1-B94F-C307AEA612D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9196" y="0"/>
            <a:ext cx="407396" cy="67183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52413" y="0"/>
            <a:ext cx="5960186" cy="67183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759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icon below to insert an image or remove this placeholder to use the whitespace in another way</a:t>
            </a:r>
            <a:endParaRPr lang="ru-RU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15562" y="1749227"/>
            <a:ext cx="4287833" cy="321984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299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2196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4622812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CD37E5D0-92D7-474C-928B-D907916306D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40040" y="0"/>
            <a:ext cx="407396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640346" y="0"/>
            <a:ext cx="4272255" cy="67183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640817" y="0"/>
            <a:ext cx="4271784" cy="67183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563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icon below to insert an image or remove this placeholder to use the whitespace in another way</a:t>
            </a:r>
            <a:endParaRPr lang="ru-RU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375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15562" y="1767888"/>
            <a:ext cx="6104379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edit title</a:t>
            </a:r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9316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0423640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7BB2999-C500-4CC6-82CE-BDBC01807ED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489" y="1283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>
                <a:solidFill>
                  <a:schemeClr val="tx2"/>
                </a:solidFill>
              </a:rPr>
              <a:t>Click to add title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657" y="3517261"/>
            <a:ext cx="1333963" cy="3314050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3917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9560184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F1CE01A-A75A-47C7-89DC-D5985699DBC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586940" y="0"/>
            <a:ext cx="407396" cy="67183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2626488"/>
            <a:ext cx="3056200" cy="146532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27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987246" y="-1282"/>
            <a:ext cx="7925354" cy="671958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863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103581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135A938-5E57-476F-B007-D33FF8CD1A5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127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3994622" cy="67183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2707896"/>
            <a:ext cx="2421836" cy="1287538"/>
          </a:xfrm>
        </p:spPr>
        <p:txBody>
          <a:bodyPr anchor="ctr" anchorCtr="0">
            <a:noAutofit/>
          </a:bodyPr>
          <a:lstStyle>
            <a:lvl1pPr>
              <a:defRPr sz="3127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24807" y="3333512"/>
            <a:ext cx="2632913" cy="3391228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4716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53400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3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D93337D0-57BF-4BF6-92FE-D085745E34A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532" y="3325247"/>
            <a:ext cx="1268816" cy="349911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79694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67887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7BDF176-4EC5-4F66-B9E6-496BD3F47E8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302553" cy="67183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15563" y="1749227"/>
            <a:ext cx="3969142" cy="32198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99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496062" y="3346709"/>
            <a:ext cx="2632913" cy="3371591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4934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5840900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1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18BD94B-49AE-47FE-BF35-87D89A3AF14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4566542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106" y="3516484"/>
            <a:ext cx="1333963" cy="3314050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1714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2314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AE192C35-2E99-4212-9EF4-A05DF0B754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217715" cy="67183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4566542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357960" y="3338385"/>
            <a:ext cx="2632913" cy="3386140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48064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106227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FE1A587-D935-42D5-97AF-63AACCB996E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685" y="3516484"/>
            <a:ext cx="1333963" cy="3314050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9438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777336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2BF10D9-080A-4EBC-94A3-2FEB1F123F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252679" cy="67183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15563" y="610113"/>
            <a:ext cx="6113415" cy="46130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22" b="0" i="0" u="none" kern="1200" spc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/>
              <a:t>Click to add title</a:t>
            </a:r>
            <a:endParaRPr lang="ru-RU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417120" y="3338385"/>
            <a:ext cx="2632913" cy="3386140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7146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5937330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7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4F44E5C8-A4FF-4B41-B697-6912B0234B6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chemeClr val="tx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701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322924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840F38DA-7343-4920-A192-E45F0BC2914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15562" y="612734"/>
            <a:ext cx="911314" cy="913689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15562" y="3748389"/>
            <a:ext cx="10682648" cy="157382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big statement text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8119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55568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640707" y="112134"/>
            <a:ext cx="753587" cy="9790200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1912600" cy="574781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9A9A9A"/>
          </a:solidFill>
          <a:ln>
            <a:noFill/>
          </a:ln>
          <a:effectLst/>
        </p:spPr>
        <p:txBody>
          <a:bodyPr vert="horz" wrap="square" lIns="89345" tIns="44672" rIns="89345" bIns="44672" numCol="1" anchor="t" anchorCtr="0" compatLnSpc="1">
            <a:prstTxWarp prst="textNoShape">
              <a:avLst/>
            </a:prstTxWarp>
            <a:noAutofit/>
          </a:bodyPr>
          <a:lstStyle/>
          <a:p>
            <a:pPr eaLnBrk="1"/>
            <a:endParaRPr lang="ru-RU" sz="2247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684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9465182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30CEB7E-F84D-45AC-BCE2-6E6825A6D98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299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9196" y="0"/>
            <a:ext cx="407396" cy="67183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5956300" y="0"/>
            <a:ext cx="5956300" cy="67183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5952413" y="0"/>
            <a:ext cx="5960186" cy="67183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759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icon below to insert an image or remove this placeholder to use the whitespace in another way</a:t>
            </a:r>
            <a:endParaRPr lang="ru-RU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15562" y="1749227"/>
            <a:ext cx="4287833" cy="3219847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299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782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4195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0305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5FA0AD3F-46FA-4228-9908-E272B9049F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22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5562" y="610113"/>
            <a:ext cx="10682648" cy="461306"/>
          </a:xfrm>
        </p:spPr>
        <p:txBody>
          <a:bodyPr/>
          <a:lstStyle>
            <a:lvl1pPr>
              <a:defRPr sz="3322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761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46399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30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4434845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0911941" y="6273940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002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07178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674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893864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490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95367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586" y="-1"/>
            <a:ext cx="11914359" cy="67183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59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ru-RU" sz="2247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ru-RU" sz="2247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eaLnBrk="1">
                <a:lnSpc>
                  <a:spcPct val="90000"/>
                </a:lnSpc>
                <a:spcAft>
                  <a:spcPts val="977"/>
                </a:spcAft>
              </a:pPr>
              <a:endParaRPr lang="ru-RU" sz="1173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xxxx  2. xxxx  3. xxxx</a:t>
              </a:r>
            </a:p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89346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77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  <a:endParaRPr kumimoji="0" lang="ru-RU" sz="977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5141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817518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5AFF5F98-C0A3-46F3-AA8F-497BF182FC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518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910391" cy="67183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11912600" cy="67183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sz="2247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496" y="4957431"/>
            <a:ext cx="3923261" cy="12812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9">
            <a:alphaModFix/>
          </a:blip>
          <a:stretch>
            <a:fillRect/>
          </a:stretch>
        </p:blipFill>
        <p:spPr>
          <a:xfrm>
            <a:off x="601257" y="550596"/>
            <a:ext cx="1315863" cy="254166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821665" y="1993159"/>
            <a:ext cx="5567576" cy="1366088"/>
          </a:xfrm>
        </p:spPr>
        <p:txBody>
          <a:bodyPr>
            <a:noAutofit/>
          </a:bodyPr>
          <a:lstStyle>
            <a:lvl1pPr>
              <a:defRPr sz="3518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75880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6203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FBBDD6B-5D79-4379-954F-BC839F78AB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ru-RU" sz="1173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15561" y="403266"/>
            <a:ext cx="10676590" cy="325628"/>
          </a:xfrm>
        </p:spPr>
        <p:txBody>
          <a:bodyPr anchor="ctr"/>
          <a:lstStyle>
            <a:lvl1pPr>
              <a:defRPr b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8">
            <a:alphaModFix/>
          </a:blip>
          <a:srcRect l="-57" t="571" r="55" b="32592"/>
          <a:stretch/>
        </p:blipFill>
        <p:spPr>
          <a:xfrm>
            <a:off x="11106435" y="100428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8787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372140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2C3C6C3A-760C-41AA-9A60-7CFBFEE618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282"/>
            <a:ext cx="4586820" cy="671958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345" tIns="44672" rIns="89345" bIns="4467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eaLnBrk="1">
              <a:lnSpc>
                <a:spcPct val="90000"/>
              </a:lnSpc>
              <a:spcAft>
                <a:spcPts val="977"/>
              </a:spcAft>
            </a:pPr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15563" y="2115008"/>
            <a:ext cx="3658200" cy="5306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563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46730" indent="0" algn="ctr">
              <a:buNone/>
              <a:defRPr sz="1954"/>
            </a:lvl2pPr>
            <a:lvl3pPr marL="893460" indent="0" algn="ctr">
              <a:buNone/>
              <a:defRPr sz="1759"/>
            </a:lvl3pPr>
            <a:lvl4pPr marL="1340190" indent="0" algn="ctr">
              <a:buNone/>
              <a:defRPr sz="1563"/>
            </a:lvl4pPr>
            <a:lvl5pPr marL="1786920" indent="0" algn="ctr">
              <a:buNone/>
              <a:defRPr sz="1563"/>
            </a:lvl5pPr>
            <a:lvl6pPr marL="2233651" indent="0" algn="ctr">
              <a:buNone/>
              <a:defRPr sz="1563"/>
            </a:lvl6pPr>
            <a:lvl7pPr marL="2680381" indent="0" algn="ctr">
              <a:buNone/>
              <a:defRPr sz="1563"/>
            </a:lvl7pPr>
            <a:lvl8pPr marL="3127111" indent="0" algn="ctr">
              <a:buNone/>
              <a:defRPr sz="1563"/>
            </a:lvl8pPr>
            <a:lvl9pPr marL="3573841" indent="0" algn="ctr">
              <a:buNone/>
              <a:defRPr sz="1563"/>
            </a:lvl9pPr>
          </a:lstStyle>
          <a:p>
            <a:r>
              <a:rPr lang="ru-RU"/>
              <a:t>Click to add subtitle</a:t>
            </a:r>
            <a:endParaRPr lang="ru-RU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15563" y="1202053"/>
            <a:ext cx="3658200" cy="651255"/>
          </a:xfrm>
        </p:spPr>
        <p:txBody>
          <a:bodyPr anchor="t">
            <a:noAutofit/>
          </a:bodyPr>
          <a:lstStyle>
            <a:lvl1pPr>
              <a:defRPr sz="2345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278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948035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575F9B1-6993-4C7C-9162-7C9FDBB018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5863"/>
              </a:lnSpc>
              <a:spcBef>
                <a:spcPct val="0"/>
              </a:spcBef>
              <a:spcAft>
                <a:spcPct val="0"/>
              </a:spcAft>
            </a:pPr>
            <a:endParaRPr lang="ru-RU" sz="5276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n-ea"/>
              <a:cs typeface="Arial" panose="020B0604020202020204" pitchFamily="34" charset="0"/>
              <a:sym typeface="PT Sans Caption" panose="020B0603020203020204" pitchFamily="34" charset="-52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262956" y="3842697"/>
            <a:ext cx="5029394" cy="9477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55301" y="2613692"/>
            <a:ext cx="9400021" cy="313582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93460" rtl="0" eaLnBrk="1" fontAlgn="auto" latinLnBrk="0" hangingPunct="1">
              <a:lnSpc>
                <a:spcPts val="5863"/>
              </a:lnSpc>
              <a:spcBef>
                <a:spcPts val="0"/>
              </a:spcBef>
              <a:spcAft>
                <a:spcPts val="0"/>
              </a:spcAft>
              <a:defRPr lang="en-US" sz="5276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/>
              <a:t>Click to add section title</a:t>
            </a:r>
            <a:endParaRPr lang="ru-RU" dirty="0"/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51344" y="1395072"/>
            <a:ext cx="929911" cy="932334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eaLnBrk="1"/>
            <a:endParaRPr lang="ru-RU" sz="1173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315797" y="5013755"/>
            <a:ext cx="2687320" cy="9472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86"/>
              </a:spcAft>
            </a:pPr>
            <a:r>
              <a:rPr lang="ru-RU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ЦРПТ_Алхазов Д.М._20181015_</a:t>
            </a:r>
            <a:r>
              <a:rPr lang="en-US" sz="684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v5.pptx</a:t>
            </a:r>
            <a:endParaRPr lang="ru-RU" sz="684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511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110.xml"/><Relationship Id="rId47" Type="http://schemas.openxmlformats.org/officeDocument/2006/relationships/slideLayout" Target="../slideLayouts/slideLayout115.xml"/><Relationship Id="rId63" Type="http://schemas.openxmlformats.org/officeDocument/2006/relationships/slideLayout" Target="../slideLayouts/slideLayout131.xml"/><Relationship Id="rId68" Type="http://schemas.openxmlformats.org/officeDocument/2006/relationships/tags" Target="../tags/tag167.xml"/><Relationship Id="rId7" Type="http://schemas.openxmlformats.org/officeDocument/2006/relationships/slideLayout" Target="../slideLayouts/slideLayout75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32" Type="http://schemas.openxmlformats.org/officeDocument/2006/relationships/slideLayout" Target="../slideLayouts/slideLayout100.xml"/><Relationship Id="rId37" Type="http://schemas.openxmlformats.org/officeDocument/2006/relationships/slideLayout" Target="../slideLayouts/slideLayout105.xml"/><Relationship Id="rId40" Type="http://schemas.openxmlformats.org/officeDocument/2006/relationships/slideLayout" Target="../slideLayouts/slideLayout108.xml"/><Relationship Id="rId45" Type="http://schemas.openxmlformats.org/officeDocument/2006/relationships/slideLayout" Target="../slideLayouts/slideLayout113.xml"/><Relationship Id="rId53" Type="http://schemas.openxmlformats.org/officeDocument/2006/relationships/slideLayout" Target="../slideLayouts/slideLayout121.xml"/><Relationship Id="rId58" Type="http://schemas.openxmlformats.org/officeDocument/2006/relationships/slideLayout" Target="../slideLayouts/slideLayout126.xml"/><Relationship Id="rId66" Type="http://schemas.openxmlformats.org/officeDocument/2006/relationships/theme" Target="../theme/theme2.xml"/><Relationship Id="rId5" Type="http://schemas.openxmlformats.org/officeDocument/2006/relationships/slideLayout" Target="../slideLayouts/slideLayout73.xml"/><Relationship Id="rId61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slideLayout" Target="../slideLayouts/slideLayout95.xml"/><Relationship Id="rId30" Type="http://schemas.openxmlformats.org/officeDocument/2006/relationships/slideLayout" Target="../slideLayouts/slideLayout98.xml"/><Relationship Id="rId35" Type="http://schemas.openxmlformats.org/officeDocument/2006/relationships/slideLayout" Target="../slideLayouts/slideLayout103.xml"/><Relationship Id="rId43" Type="http://schemas.openxmlformats.org/officeDocument/2006/relationships/slideLayout" Target="../slideLayouts/slideLayout111.xml"/><Relationship Id="rId48" Type="http://schemas.openxmlformats.org/officeDocument/2006/relationships/slideLayout" Target="../slideLayouts/slideLayout116.xml"/><Relationship Id="rId56" Type="http://schemas.openxmlformats.org/officeDocument/2006/relationships/slideLayout" Target="../slideLayouts/slideLayout124.xml"/><Relationship Id="rId64" Type="http://schemas.openxmlformats.org/officeDocument/2006/relationships/slideLayout" Target="../slideLayouts/slideLayout132.xml"/><Relationship Id="rId69" Type="http://schemas.openxmlformats.org/officeDocument/2006/relationships/tags" Target="../tags/tag168.xml"/><Relationship Id="rId8" Type="http://schemas.openxmlformats.org/officeDocument/2006/relationships/slideLayout" Target="../slideLayouts/slideLayout76.xml"/><Relationship Id="rId51" Type="http://schemas.openxmlformats.org/officeDocument/2006/relationships/slideLayout" Target="../slideLayouts/slideLayout119.xml"/><Relationship Id="rId72" Type="http://schemas.openxmlformats.org/officeDocument/2006/relationships/image" Target="../media/image5.png"/><Relationship Id="rId3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33" Type="http://schemas.openxmlformats.org/officeDocument/2006/relationships/slideLayout" Target="../slideLayouts/slideLayout101.xml"/><Relationship Id="rId38" Type="http://schemas.openxmlformats.org/officeDocument/2006/relationships/slideLayout" Target="../slideLayouts/slideLayout106.xml"/><Relationship Id="rId46" Type="http://schemas.openxmlformats.org/officeDocument/2006/relationships/slideLayout" Target="../slideLayouts/slideLayout114.xml"/><Relationship Id="rId59" Type="http://schemas.openxmlformats.org/officeDocument/2006/relationships/slideLayout" Target="../slideLayouts/slideLayout127.xml"/><Relationship Id="rId67" Type="http://schemas.openxmlformats.org/officeDocument/2006/relationships/vmlDrawing" Target="../drawings/vmlDrawing69.vml"/><Relationship Id="rId20" Type="http://schemas.openxmlformats.org/officeDocument/2006/relationships/slideLayout" Target="../slideLayouts/slideLayout88.xml"/><Relationship Id="rId41" Type="http://schemas.openxmlformats.org/officeDocument/2006/relationships/slideLayout" Target="../slideLayouts/slideLayout109.xml"/><Relationship Id="rId54" Type="http://schemas.openxmlformats.org/officeDocument/2006/relationships/slideLayout" Target="../slideLayouts/slideLayout122.xml"/><Relationship Id="rId62" Type="http://schemas.openxmlformats.org/officeDocument/2006/relationships/slideLayout" Target="../slideLayouts/slideLayout130.xml"/><Relationship Id="rId70" Type="http://schemas.openxmlformats.org/officeDocument/2006/relationships/oleObject" Target="../embeddings/oleObject69.bin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slideLayout" Target="../slideLayouts/slideLayout96.xml"/><Relationship Id="rId36" Type="http://schemas.openxmlformats.org/officeDocument/2006/relationships/slideLayout" Target="../slideLayouts/slideLayout104.xml"/><Relationship Id="rId49" Type="http://schemas.openxmlformats.org/officeDocument/2006/relationships/slideLayout" Target="../slideLayouts/slideLayout117.xml"/><Relationship Id="rId57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9.xml"/><Relationship Id="rId44" Type="http://schemas.openxmlformats.org/officeDocument/2006/relationships/slideLayout" Target="../slideLayouts/slideLayout112.xml"/><Relationship Id="rId52" Type="http://schemas.openxmlformats.org/officeDocument/2006/relationships/slideLayout" Target="../slideLayouts/slideLayout120.xml"/><Relationship Id="rId60" Type="http://schemas.openxmlformats.org/officeDocument/2006/relationships/slideLayout" Target="../slideLayouts/slideLayout128.xml"/><Relationship Id="rId65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39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02.xml"/><Relationship Id="rId50" Type="http://schemas.openxmlformats.org/officeDocument/2006/relationships/slideLayout" Target="../slideLayouts/slideLayout118.xml"/><Relationship Id="rId55" Type="http://schemas.openxmlformats.org/officeDocument/2006/relationships/slideLayout" Target="../slideLayouts/slideLayout123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54.xml"/><Relationship Id="rId34" Type="http://schemas.openxmlformats.org/officeDocument/2006/relationships/slideLayout" Target="../slideLayouts/slideLayout167.xml"/><Relationship Id="rId42" Type="http://schemas.openxmlformats.org/officeDocument/2006/relationships/slideLayout" Target="../slideLayouts/slideLayout175.xml"/><Relationship Id="rId47" Type="http://schemas.openxmlformats.org/officeDocument/2006/relationships/slideLayout" Target="../slideLayouts/slideLayout180.xml"/><Relationship Id="rId50" Type="http://schemas.openxmlformats.org/officeDocument/2006/relationships/slideLayout" Target="../slideLayouts/slideLayout183.xml"/><Relationship Id="rId55" Type="http://schemas.openxmlformats.org/officeDocument/2006/relationships/slideLayout" Target="../slideLayouts/slideLayout188.xml"/><Relationship Id="rId63" Type="http://schemas.openxmlformats.org/officeDocument/2006/relationships/vmlDrawing" Target="../drawings/vmlDrawing135.vml"/><Relationship Id="rId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9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44.xml"/><Relationship Id="rId24" Type="http://schemas.openxmlformats.org/officeDocument/2006/relationships/slideLayout" Target="../slideLayouts/slideLayout157.xml"/><Relationship Id="rId32" Type="http://schemas.openxmlformats.org/officeDocument/2006/relationships/slideLayout" Target="../slideLayouts/slideLayout165.xml"/><Relationship Id="rId37" Type="http://schemas.openxmlformats.org/officeDocument/2006/relationships/slideLayout" Target="../slideLayouts/slideLayout170.xml"/><Relationship Id="rId40" Type="http://schemas.openxmlformats.org/officeDocument/2006/relationships/slideLayout" Target="../slideLayouts/slideLayout173.xml"/><Relationship Id="rId45" Type="http://schemas.openxmlformats.org/officeDocument/2006/relationships/slideLayout" Target="../slideLayouts/slideLayout178.xml"/><Relationship Id="rId53" Type="http://schemas.openxmlformats.org/officeDocument/2006/relationships/slideLayout" Target="../slideLayouts/slideLayout186.xml"/><Relationship Id="rId58" Type="http://schemas.openxmlformats.org/officeDocument/2006/relationships/slideLayout" Target="../slideLayouts/slideLayout191.xml"/><Relationship Id="rId66" Type="http://schemas.openxmlformats.org/officeDocument/2006/relationships/oleObject" Target="../embeddings/oleObject135.bin"/><Relationship Id="rId5" Type="http://schemas.openxmlformats.org/officeDocument/2006/relationships/slideLayout" Target="../slideLayouts/slideLayout138.xml"/><Relationship Id="rId61" Type="http://schemas.openxmlformats.org/officeDocument/2006/relationships/slideLayout" Target="../slideLayouts/slideLayout194.xml"/><Relationship Id="rId1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47.xml"/><Relationship Id="rId22" Type="http://schemas.openxmlformats.org/officeDocument/2006/relationships/slideLayout" Target="../slideLayouts/slideLayout155.xml"/><Relationship Id="rId27" Type="http://schemas.openxmlformats.org/officeDocument/2006/relationships/slideLayout" Target="../slideLayouts/slideLayout160.xml"/><Relationship Id="rId30" Type="http://schemas.openxmlformats.org/officeDocument/2006/relationships/slideLayout" Target="../slideLayouts/slideLayout163.xml"/><Relationship Id="rId35" Type="http://schemas.openxmlformats.org/officeDocument/2006/relationships/slideLayout" Target="../slideLayouts/slideLayout168.xml"/><Relationship Id="rId43" Type="http://schemas.openxmlformats.org/officeDocument/2006/relationships/slideLayout" Target="../slideLayouts/slideLayout176.xml"/><Relationship Id="rId48" Type="http://schemas.openxmlformats.org/officeDocument/2006/relationships/slideLayout" Target="../slideLayouts/slideLayout181.xml"/><Relationship Id="rId56" Type="http://schemas.openxmlformats.org/officeDocument/2006/relationships/slideLayout" Target="../slideLayouts/slideLayout189.xml"/><Relationship Id="rId64" Type="http://schemas.openxmlformats.org/officeDocument/2006/relationships/tags" Target="../tags/tag329.xml"/><Relationship Id="rId8" Type="http://schemas.openxmlformats.org/officeDocument/2006/relationships/slideLayout" Target="../slideLayouts/slideLayout141.xml"/><Relationship Id="rId51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slideLayout" Target="../slideLayouts/slideLayout158.xml"/><Relationship Id="rId33" Type="http://schemas.openxmlformats.org/officeDocument/2006/relationships/slideLayout" Target="../slideLayouts/slideLayout166.xml"/><Relationship Id="rId38" Type="http://schemas.openxmlformats.org/officeDocument/2006/relationships/slideLayout" Target="../slideLayouts/slideLayout171.xml"/><Relationship Id="rId46" Type="http://schemas.openxmlformats.org/officeDocument/2006/relationships/slideLayout" Target="../slideLayouts/slideLayout179.xml"/><Relationship Id="rId59" Type="http://schemas.openxmlformats.org/officeDocument/2006/relationships/slideLayout" Target="../slideLayouts/slideLayout192.xml"/><Relationship Id="rId67" Type="http://schemas.openxmlformats.org/officeDocument/2006/relationships/image" Target="../media/image1.emf"/><Relationship Id="rId20" Type="http://schemas.openxmlformats.org/officeDocument/2006/relationships/slideLayout" Target="../slideLayouts/slideLayout153.xml"/><Relationship Id="rId41" Type="http://schemas.openxmlformats.org/officeDocument/2006/relationships/slideLayout" Target="../slideLayouts/slideLayout174.xml"/><Relationship Id="rId54" Type="http://schemas.openxmlformats.org/officeDocument/2006/relationships/slideLayout" Target="../slideLayouts/slideLayout187.xml"/><Relationship Id="rId62" Type="http://schemas.openxmlformats.org/officeDocument/2006/relationships/theme" Target="../theme/theme3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8.xml"/><Relationship Id="rId23" Type="http://schemas.openxmlformats.org/officeDocument/2006/relationships/slideLayout" Target="../slideLayouts/slideLayout156.xml"/><Relationship Id="rId28" Type="http://schemas.openxmlformats.org/officeDocument/2006/relationships/slideLayout" Target="../slideLayouts/slideLayout161.xml"/><Relationship Id="rId36" Type="http://schemas.openxmlformats.org/officeDocument/2006/relationships/slideLayout" Target="../slideLayouts/slideLayout169.xml"/><Relationship Id="rId49" Type="http://schemas.openxmlformats.org/officeDocument/2006/relationships/slideLayout" Target="../slideLayouts/slideLayout182.xml"/><Relationship Id="rId57" Type="http://schemas.openxmlformats.org/officeDocument/2006/relationships/slideLayout" Target="../slideLayouts/slideLayout190.xml"/><Relationship Id="rId10" Type="http://schemas.openxmlformats.org/officeDocument/2006/relationships/slideLayout" Target="../slideLayouts/slideLayout143.xml"/><Relationship Id="rId31" Type="http://schemas.openxmlformats.org/officeDocument/2006/relationships/slideLayout" Target="../slideLayouts/slideLayout164.xml"/><Relationship Id="rId44" Type="http://schemas.openxmlformats.org/officeDocument/2006/relationships/slideLayout" Target="../slideLayouts/slideLayout177.xml"/><Relationship Id="rId52" Type="http://schemas.openxmlformats.org/officeDocument/2006/relationships/slideLayout" Target="../slideLayouts/slideLayout185.xml"/><Relationship Id="rId60" Type="http://schemas.openxmlformats.org/officeDocument/2006/relationships/slideLayout" Target="../slideLayouts/slideLayout193.xml"/><Relationship Id="rId65" Type="http://schemas.openxmlformats.org/officeDocument/2006/relationships/tags" Target="../tags/tag330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39" Type="http://schemas.openxmlformats.org/officeDocument/2006/relationships/slideLayout" Target="../slideLayouts/slideLayout172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20.xml"/><Relationship Id="rId21" Type="http://schemas.openxmlformats.org/officeDocument/2006/relationships/slideLayout" Target="../slideLayouts/slideLayout215.xml"/><Relationship Id="rId34" Type="http://schemas.openxmlformats.org/officeDocument/2006/relationships/slideLayout" Target="../slideLayouts/slideLayout228.xml"/><Relationship Id="rId42" Type="http://schemas.openxmlformats.org/officeDocument/2006/relationships/slideLayout" Target="../slideLayouts/slideLayout236.xml"/><Relationship Id="rId47" Type="http://schemas.openxmlformats.org/officeDocument/2006/relationships/slideLayout" Target="../slideLayouts/slideLayout241.xml"/><Relationship Id="rId50" Type="http://schemas.openxmlformats.org/officeDocument/2006/relationships/slideLayout" Target="../slideLayouts/slideLayout244.xml"/><Relationship Id="rId55" Type="http://schemas.openxmlformats.org/officeDocument/2006/relationships/slideLayout" Target="../slideLayouts/slideLayout249.xml"/><Relationship Id="rId63" Type="http://schemas.openxmlformats.org/officeDocument/2006/relationships/slideLayout" Target="../slideLayouts/slideLayout257.xml"/><Relationship Id="rId68" Type="http://schemas.openxmlformats.org/officeDocument/2006/relationships/image" Target="../media/image13.emf"/><Relationship Id="rId7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210.xml"/><Relationship Id="rId29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05.xml"/><Relationship Id="rId24" Type="http://schemas.openxmlformats.org/officeDocument/2006/relationships/slideLayout" Target="../slideLayouts/slideLayout218.xml"/><Relationship Id="rId32" Type="http://schemas.openxmlformats.org/officeDocument/2006/relationships/slideLayout" Target="../slideLayouts/slideLayout226.xml"/><Relationship Id="rId37" Type="http://schemas.openxmlformats.org/officeDocument/2006/relationships/slideLayout" Target="../slideLayouts/slideLayout231.xml"/><Relationship Id="rId40" Type="http://schemas.openxmlformats.org/officeDocument/2006/relationships/slideLayout" Target="../slideLayouts/slideLayout234.xml"/><Relationship Id="rId45" Type="http://schemas.openxmlformats.org/officeDocument/2006/relationships/slideLayout" Target="../slideLayouts/slideLayout239.xml"/><Relationship Id="rId53" Type="http://schemas.openxmlformats.org/officeDocument/2006/relationships/slideLayout" Target="../slideLayouts/slideLayout247.xml"/><Relationship Id="rId58" Type="http://schemas.openxmlformats.org/officeDocument/2006/relationships/slideLayout" Target="../slideLayouts/slideLayout252.xml"/><Relationship Id="rId66" Type="http://schemas.openxmlformats.org/officeDocument/2006/relationships/tags" Target="../tags/tag488.xml"/><Relationship Id="rId5" Type="http://schemas.openxmlformats.org/officeDocument/2006/relationships/slideLayout" Target="../slideLayouts/slideLayout199.xml"/><Relationship Id="rId61" Type="http://schemas.openxmlformats.org/officeDocument/2006/relationships/slideLayout" Target="../slideLayouts/slideLayout255.xml"/><Relationship Id="rId19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08.xml"/><Relationship Id="rId22" Type="http://schemas.openxmlformats.org/officeDocument/2006/relationships/slideLayout" Target="../slideLayouts/slideLayout216.xml"/><Relationship Id="rId27" Type="http://schemas.openxmlformats.org/officeDocument/2006/relationships/slideLayout" Target="../slideLayouts/slideLayout221.xml"/><Relationship Id="rId30" Type="http://schemas.openxmlformats.org/officeDocument/2006/relationships/slideLayout" Target="../slideLayouts/slideLayout224.xml"/><Relationship Id="rId35" Type="http://schemas.openxmlformats.org/officeDocument/2006/relationships/slideLayout" Target="../slideLayouts/slideLayout229.xml"/><Relationship Id="rId43" Type="http://schemas.openxmlformats.org/officeDocument/2006/relationships/slideLayout" Target="../slideLayouts/slideLayout237.xml"/><Relationship Id="rId48" Type="http://schemas.openxmlformats.org/officeDocument/2006/relationships/slideLayout" Target="../slideLayouts/slideLayout242.xml"/><Relationship Id="rId56" Type="http://schemas.openxmlformats.org/officeDocument/2006/relationships/slideLayout" Target="../slideLayouts/slideLayout250.xml"/><Relationship Id="rId64" Type="http://schemas.openxmlformats.org/officeDocument/2006/relationships/theme" Target="../theme/theme4.xml"/><Relationship Id="rId8" Type="http://schemas.openxmlformats.org/officeDocument/2006/relationships/slideLayout" Target="../slideLayouts/slideLayout202.xml"/><Relationship Id="rId51" Type="http://schemas.openxmlformats.org/officeDocument/2006/relationships/slideLayout" Target="../slideLayouts/slideLayout245.xml"/><Relationship Id="rId3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6.xml"/><Relationship Id="rId17" Type="http://schemas.openxmlformats.org/officeDocument/2006/relationships/slideLayout" Target="../slideLayouts/slideLayout211.xml"/><Relationship Id="rId25" Type="http://schemas.openxmlformats.org/officeDocument/2006/relationships/slideLayout" Target="../slideLayouts/slideLayout219.xml"/><Relationship Id="rId33" Type="http://schemas.openxmlformats.org/officeDocument/2006/relationships/slideLayout" Target="../slideLayouts/slideLayout227.xml"/><Relationship Id="rId38" Type="http://schemas.openxmlformats.org/officeDocument/2006/relationships/slideLayout" Target="../slideLayouts/slideLayout232.xml"/><Relationship Id="rId46" Type="http://schemas.openxmlformats.org/officeDocument/2006/relationships/slideLayout" Target="../slideLayouts/slideLayout240.xml"/><Relationship Id="rId59" Type="http://schemas.openxmlformats.org/officeDocument/2006/relationships/slideLayout" Target="../slideLayouts/slideLayout253.xml"/><Relationship Id="rId67" Type="http://schemas.openxmlformats.org/officeDocument/2006/relationships/oleObject" Target="../embeddings/oleObject197.bin"/><Relationship Id="rId20" Type="http://schemas.openxmlformats.org/officeDocument/2006/relationships/slideLayout" Target="../slideLayouts/slideLayout214.xml"/><Relationship Id="rId41" Type="http://schemas.openxmlformats.org/officeDocument/2006/relationships/slideLayout" Target="../slideLayouts/slideLayout235.xml"/><Relationship Id="rId54" Type="http://schemas.openxmlformats.org/officeDocument/2006/relationships/slideLayout" Target="../slideLayouts/slideLayout248.xml"/><Relationship Id="rId6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09.xml"/><Relationship Id="rId23" Type="http://schemas.openxmlformats.org/officeDocument/2006/relationships/slideLayout" Target="../slideLayouts/slideLayout217.xml"/><Relationship Id="rId28" Type="http://schemas.openxmlformats.org/officeDocument/2006/relationships/slideLayout" Target="../slideLayouts/slideLayout222.xml"/><Relationship Id="rId36" Type="http://schemas.openxmlformats.org/officeDocument/2006/relationships/slideLayout" Target="../slideLayouts/slideLayout230.xml"/><Relationship Id="rId49" Type="http://schemas.openxmlformats.org/officeDocument/2006/relationships/slideLayout" Target="../slideLayouts/slideLayout243.xml"/><Relationship Id="rId57" Type="http://schemas.openxmlformats.org/officeDocument/2006/relationships/slideLayout" Target="../slideLayouts/slideLayout251.xml"/><Relationship Id="rId10" Type="http://schemas.openxmlformats.org/officeDocument/2006/relationships/slideLayout" Target="../slideLayouts/slideLayout204.xml"/><Relationship Id="rId31" Type="http://schemas.openxmlformats.org/officeDocument/2006/relationships/slideLayout" Target="../slideLayouts/slideLayout225.xml"/><Relationship Id="rId44" Type="http://schemas.openxmlformats.org/officeDocument/2006/relationships/slideLayout" Target="../slideLayouts/slideLayout238.xml"/><Relationship Id="rId52" Type="http://schemas.openxmlformats.org/officeDocument/2006/relationships/slideLayout" Target="../slideLayouts/slideLayout246.xml"/><Relationship Id="rId60" Type="http://schemas.openxmlformats.org/officeDocument/2006/relationships/slideLayout" Target="../slideLayouts/slideLayout254.xml"/><Relationship Id="rId65" Type="http://schemas.openxmlformats.org/officeDocument/2006/relationships/vmlDrawing" Target="../drawings/vmlDrawing197.v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7.xml"/><Relationship Id="rId18" Type="http://schemas.openxmlformats.org/officeDocument/2006/relationships/slideLayout" Target="../slideLayouts/slideLayout212.xml"/><Relationship Id="rId39" Type="http://schemas.openxmlformats.org/officeDocument/2006/relationships/slideLayout" Target="../slideLayouts/slideLayout233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83.xml"/><Relationship Id="rId21" Type="http://schemas.openxmlformats.org/officeDocument/2006/relationships/slideLayout" Target="../slideLayouts/slideLayout278.xml"/><Relationship Id="rId42" Type="http://schemas.openxmlformats.org/officeDocument/2006/relationships/slideLayout" Target="../slideLayouts/slideLayout299.xml"/><Relationship Id="rId47" Type="http://schemas.openxmlformats.org/officeDocument/2006/relationships/slideLayout" Target="../slideLayouts/slideLayout304.xml"/><Relationship Id="rId63" Type="http://schemas.openxmlformats.org/officeDocument/2006/relationships/slideLayout" Target="../slideLayouts/slideLayout320.xml"/><Relationship Id="rId68" Type="http://schemas.openxmlformats.org/officeDocument/2006/relationships/tags" Target="../tags/tag530.xml"/><Relationship Id="rId7" Type="http://schemas.openxmlformats.org/officeDocument/2006/relationships/slideLayout" Target="../slideLayouts/slideLayout264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59.xml"/><Relationship Id="rId16" Type="http://schemas.openxmlformats.org/officeDocument/2006/relationships/slideLayout" Target="../slideLayouts/slideLayout273.xml"/><Relationship Id="rId29" Type="http://schemas.openxmlformats.org/officeDocument/2006/relationships/slideLayout" Target="../slideLayouts/slideLayout286.xml"/><Relationship Id="rId11" Type="http://schemas.openxmlformats.org/officeDocument/2006/relationships/slideLayout" Target="../slideLayouts/slideLayout268.xml"/><Relationship Id="rId24" Type="http://schemas.openxmlformats.org/officeDocument/2006/relationships/slideLayout" Target="../slideLayouts/slideLayout281.xml"/><Relationship Id="rId32" Type="http://schemas.openxmlformats.org/officeDocument/2006/relationships/slideLayout" Target="../slideLayouts/slideLayout289.xml"/><Relationship Id="rId37" Type="http://schemas.openxmlformats.org/officeDocument/2006/relationships/slideLayout" Target="../slideLayouts/slideLayout294.xml"/><Relationship Id="rId40" Type="http://schemas.openxmlformats.org/officeDocument/2006/relationships/slideLayout" Target="../slideLayouts/slideLayout297.xml"/><Relationship Id="rId45" Type="http://schemas.openxmlformats.org/officeDocument/2006/relationships/slideLayout" Target="../slideLayouts/slideLayout302.xml"/><Relationship Id="rId53" Type="http://schemas.openxmlformats.org/officeDocument/2006/relationships/slideLayout" Target="../slideLayouts/slideLayout310.xml"/><Relationship Id="rId58" Type="http://schemas.openxmlformats.org/officeDocument/2006/relationships/slideLayout" Target="../slideLayouts/slideLayout315.xml"/><Relationship Id="rId66" Type="http://schemas.openxmlformats.org/officeDocument/2006/relationships/theme" Target="../theme/theme5.xml"/><Relationship Id="rId5" Type="http://schemas.openxmlformats.org/officeDocument/2006/relationships/slideLayout" Target="../slideLayouts/slideLayout262.xml"/><Relationship Id="rId61" Type="http://schemas.openxmlformats.org/officeDocument/2006/relationships/slideLayout" Target="../slideLayouts/slideLayout318.xml"/><Relationship Id="rId19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71.xml"/><Relationship Id="rId22" Type="http://schemas.openxmlformats.org/officeDocument/2006/relationships/slideLayout" Target="../slideLayouts/slideLayout279.xml"/><Relationship Id="rId27" Type="http://schemas.openxmlformats.org/officeDocument/2006/relationships/slideLayout" Target="../slideLayouts/slideLayout284.xml"/><Relationship Id="rId30" Type="http://schemas.openxmlformats.org/officeDocument/2006/relationships/slideLayout" Target="../slideLayouts/slideLayout287.xml"/><Relationship Id="rId35" Type="http://schemas.openxmlformats.org/officeDocument/2006/relationships/slideLayout" Target="../slideLayouts/slideLayout292.xml"/><Relationship Id="rId43" Type="http://schemas.openxmlformats.org/officeDocument/2006/relationships/slideLayout" Target="../slideLayouts/slideLayout300.xml"/><Relationship Id="rId48" Type="http://schemas.openxmlformats.org/officeDocument/2006/relationships/slideLayout" Target="../slideLayouts/slideLayout305.xml"/><Relationship Id="rId56" Type="http://schemas.openxmlformats.org/officeDocument/2006/relationships/slideLayout" Target="../slideLayouts/slideLayout313.xml"/><Relationship Id="rId64" Type="http://schemas.openxmlformats.org/officeDocument/2006/relationships/slideLayout" Target="../slideLayouts/slideLayout321.xml"/><Relationship Id="rId69" Type="http://schemas.openxmlformats.org/officeDocument/2006/relationships/tags" Target="../tags/tag531.xml"/><Relationship Id="rId8" Type="http://schemas.openxmlformats.org/officeDocument/2006/relationships/slideLayout" Target="../slideLayouts/slideLayout265.xml"/><Relationship Id="rId51" Type="http://schemas.openxmlformats.org/officeDocument/2006/relationships/slideLayout" Target="../slideLayouts/slideLayout308.xml"/><Relationship Id="rId3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9.xml"/><Relationship Id="rId17" Type="http://schemas.openxmlformats.org/officeDocument/2006/relationships/slideLayout" Target="../slideLayouts/slideLayout274.xml"/><Relationship Id="rId25" Type="http://schemas.openxmlformats.org/officeDocument/2006/relationships/slideLayout" Target="../slideLayouts/slideLayout282.xml"/><Relationship Id="rId33" Type="http://schemas.openxmlformats.org/officeDocument/2006/relationships/slideLayout" Target="../slideLayouts/slideLayout290.xml"/><Relationship Id="rId38" Type="http://schemas.openxmlformats.org/officeDocument/2006/relationships/slideLayout" Target="../slideLayouts/slideLayout295.xml"/><Relationship Id="rId46" Type="http://schemas.openxmlformats.org/officeDocument/2006/relationships/slideLayout" Target="../slideLayouts/slideLayout303.xml"/><Relationship Id="rId59" Type="http://schemas.openxmlformats.org/officeDocument/2006/relationships/slideLayout" Target="../slideLayouts/slideLayout316.xml"/><Relationship Id="rId67" Type="http://schemas.openxmlformats.org/officeDocument/2006/relationships/vmlDrawing" Target="../drawings/vmlDrawing239.vml"/><Relationship Id="rId20" Type="http://schemas.openxmlformats.org/officeDocument/2006/relationships/slideLayout" Target="../slideLayouts/slideLayout277.xml"/><Relationship Id="rId41" Type="http://schemas.openxmlformats.org/officeDocument/2006/relationships/slideLayout" Target="../slideLayouts/slideLayout298.xml"/><Relationship Id="rId54" Type="http://schemas.openxmlformats.org/officeDocument/2006/relationships/slideLayout" Target="../slideLayouts/slideLayout311.xml"/><Relationship Id="rId62" Type="http://schemas.openxmlformats.org/officeDocument/2006/relationships/slideLayout" Target="../slideLayouts/slideLayout319.xml"/><Relationship Id="rId70" Type="http://schemas.openxmlformats.org/officeDocument/2006/relationships/oleObject" Target="../embeddings/oleObject239.bin"/><Relationship Id="rId1" Type="http://schemas.openxmlformats.org/officeDocument/2006/relationships/slideLayout" Target="../slideLayouts/slideLayout258.xml"/><Relationship Id="rId6" Type="http://schemas.openxmlformats.org/officeDocument/2006/relationships/slideLayout" Target="../slideLayouts/slideLayout263.xml"/><Relationship Id="rId15" Type="http://schemas.openxmlformats.org/officeDocument/2006/relationships/slideLayout" Target="../slideLayouts/slideLayout272.xml"/><Relationship Id="rId23" Type="http://schemas.openxmlformats.org/officeDocument/2006/relationships/slideLayout" Target="../slideLayouts/slideLayout280.xml"/><Relationship Id="rId28" Type="http://schemas.openxmlformats.org/officeDocument/2006/relationships/slideLayout" Target="../slideLayouts/slideLayout285.xml"/><Relationship Id="rId36" Type="http://schemas.openxmlformats.org/officeDocument/2006/relationships/slideLayout" Target="../slideLayouts/slideLayout293.xml"/><Relationship Id="rId49" Type="http://schemas.openxmlformats.org/officeDocument/2006/relationships/slideLayout" Target="../slideLayouts/slideLayout306.xml"/><Relationship Id="rId57" Type="http://schemas.openxmlformats.org/officeDocument/2006/relationships/slideLayout" Target="../slideLayouts/slideLayout314.xml"/><Relationship Id="rId10" Type="http://schemas.openxmlformats.org/officeDocument/2006/relationships/slideLayout" Target="../slideLayouts/slideLayout267.xml"/><Relationship Id="rId31" Type="http://schemas.openxmlformats.org/officeDocument/2006/relationships/slideLayout" Target="../slideLayouts/slideLayout288.xml"/><Relationship Id="rId44" Type="http://schemas.openxmlformats.org/officeDocument/2006/relationships/slideLayout" Target="../slideLayouts/slideLayout301.xml"/><Relationship Id="rId52" Type="http://schemas.openxmlformats.org/officeDocument/2006/relationships/slideLayout" Target="../slideLayouts/slideLayout309.xml"/><Relationship Id="rId60" Type="http://schemas.openxmlformats.org/officeDocument/2006/relationships/slideLayout" Target="../slideLayouts/slideLayout317.xml"/><Relationship Id="rId65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261.xml"/><Relationship Id="rId9" Type="http://schemas.openxmlformats.org/officeDocument/2006/relationships/slideLayout" Target="../slideLayouts/slideLayout266.xml"/><Relationship Id="rId13" Type="http://schemas.openxmlformats.org/officeDocument/2006/relationships/slideLayout" Target="../slideLayouts/slideLayout270.xml"/><Relationship Id="rId18" Type="http://schemas.openxmlformats.org/officeDocument/2006/relationships/slideLayout" Target="../slideLayouts/slideLayout275.xml"/><Relationship Id="rId39" Type="http://schemas.openxmlformats.org/officeDocument/2006/relationships/slideLayout" Target="../slideLayouts/slideLayout296.xml"/><Relationship Id="rId34" Type="http://schemas.openxmlformats.org/officeDocument/2006/relationships/slideLayout" Target="../slideLayouts/slideLayout291.xml"/><Relationship Id="rId50" Type="http://schemas.openxmlformats.org/officeDocument/2006/relationships/slideLayout" Target="../slideLayouts/slideLayout307.xml"/><Relationship Id="rId55" Type="http://schemas.openxmlformats.org/officeDocument/2006/relationships/slideLayout" Target="../slideLayouts/slideLayout3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200180990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73" imgW="270" imgH="270" progId="TCLayout.ActiveDocument.1">
                  <p:embed/>
                </p:oleObj>
              </mc:Choice>
              <mc:Fallback>
                <p:oleObj name="think-cell Slide" r:id="rId7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C5B70CC-184F-4494-AE4C-813DD443463E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15563" y="610114"/>
            <a:ext cx="10682794" cy="3256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15563" y="1788436"/>
            <a:ext cx="10682794" cy="4262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</a:p>
          <a:p>
            <a:pPr lvl="5"/>
            <a:r>
              <a:rPr lang="ru-RU"/>
              <a:t>Level six</a:t>
            </a:r>
          </a:p>
          <a:p>
            <a:pPr lvl="6"/>
            <a:r>
              <a:rPr lang="ru-RU"/>
              <a:t>Level seven</a:t>
            </a:r>
          </a:p>
          <a:p>
            <a:pPr lvl="7"/>
            <a:r>
              <a:rPr lang="ru-RU"/>
              <a:t>Level eight</a:t>
            </a:r>
          </a:p>
          <a:p>
            <a:pPr lvl="8"/>
            <a:r>
              <a:rPr lang="ru-RU"/>
              <a:t>Level n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836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07" r:id="rId44"/>
    <p:sldLayoutId id="2147483708" r:id="rId45"/>
    <p:sldLayoutId id="2147483709" r:id="rId46"/>
    <p:sldLayoutId id="2147483710" r:id="rId47"/>
    <p:sldLayoutId id="214748371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  <p:sldLayoutId id="2147483718" r:id="rId55"/>
    <p:sldLayoutId id="2147483719" r:id="rId56"/>
    <p:sldLayoutId id="2147483720" r:id="rId57"/>
    <p:sldLayoutId id="2147483721" r:id="rId58"/>
    <p:sldLayoutId id="2147483722" r:id="rId59"/>
    <p:sldLayoutId id="2147483723" r:id="rId60"/>
    <p:sldLayoutId id="2147483724" r:id="rId61"/>
    <p:sldLayoutId id="2147483725" r:id="rId62"/>
    <p:sldLayoutId id="2147483726" r:id="rId63"/>
    <p:sldLayoutId id="2147483727" r:id="rId64"/>
    <p:sldLayoutId id="2147483728" r:id="rId65"/>
    <p:sldLayoutId id="2147483730" r:id="rId66"/>
    <p:sldLayoutId id="2147483731" r:id="rId67"/>
    <p:sldLayoutId id="2147483732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93460" rtl="0" eaLnBrk="1" latinLnBrk="0" hangingPunct="1">
        <a:lnSpc>
          <a:spcPct val="90000"/>
        </a:lnSpc>
        <a:spcBef>
          <a:spcPct val="0"/>
        </a:spcBef>
        <a:buNone/>
        <a:defRPr sz="2345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893460" rtl="0" eaLnBrk="1" latinLnBrk="0" hangingPunct="1">
        <a:lnSpc>
          <a:spcPct val="110000"/>
        </a:lnSpc>
        <a:spcBef>
          <a:spcPts val="586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77887" indent="-168843" algn="l" defTabSz="893460" rtl="0" eaLnBrk="1" latinLnBrk="0" hangingPunct="1">
        <a:lnSpc>
          <a:spcPct val="90000"/>
        </a:lnSpc>
        <a:spcBef>
          <a:spcPts val="0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•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499494" indent="-161808" algn="l" defTabSz="893460" rtl="0" eaLnBrk="1" latinLnBrk="0" hangingPunct="1">
        <a:lnSpc>
          <a:spcPct val="90000"/>
        </a:lnSpc>
        <a:spcBef>
          <a:spcPts val="0"/>
        </a:spcBef>
        <a:spcAft>
          <a:spcPts val="293"/>
        </a:spcAft>
        <a:buClr>
          <a:srgbClr val="595959"/>
        </a:buClr>
        <a:buFont typeface="Trebuchet MS" panose="020B0603020202020204" pitchFamily="34" charset="0"/>
        <a:buChar char="–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893460" rtl="0" eaLnBrk="1" latinLnBrk="0" hangingPunct="1">
        <a:lnSpc>
          <a:spcPct val="110000"/>
        </a:lnSpc>
        <a:spcBef>
          <a:spcPts val="293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56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893460" rtl="0" eaLnBrk="1" latinLnBrk="0" hangingPunct="1">
        <a:lnSpc>
          <a:spcPct val="100000"/>
        </a:lnSpc>
        <a:spcBef>
          <a:spcPts val="0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563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3695" indent="-148910" algn="l" defTabSz="893460" rtl="0" eaLnBrk="1" latinLnBrk="0" hangingPunct="1">
        <a:lnSpc>
          <a:spcPct val="90000"/>
        </a:lnSpc>
        <a:spcBef>
          <a:spcPts val="0"/>
        </a:spcBef>
        <a:spcAft>
          <a:spcPts val="586"/>
        </a:spcAft>
        <a:buClr>
          <a:srgbClr val="595959"/>
        </a:buClr>
        <a:buFont typeface="Arial" panose="020B0604020202020204" pitchFamily="34" charset="0"/>
        <a:buChar char="•"/>
        <a:defRPr lang="en-US" sz="1563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893460" rtl="0" eaLnBrk="1" latinLnBrk="0" hangingPunct="1">
        <a:lnSpc>
          <a:spcPct val="90000"/>
        </a:lnSpc>
        <a:spcBef>
          <a:spcPts val="879"/>
        </a:spcBef>
        <a:spcAft>
          <a:spcPts val="879"/>
        </a:spcAft>
        <a:buClr>
          <a:srgbClr val="595959"/>
        </a:buClr>
        <a:buFont typeface="Arial" panose="020B0604020202020204" pitchFamily="34" charset="0"/>
        <a:buChar char="​"/>
        <a:defRPr lang="en-US" sz="4299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893460" rtl="0" eaLnBrk="1" latinLnBrk="0" hangingPunct="1">
        <a:lnSpc>
          <a:spcPct val="90000"/>
        </a:lnSpc>
        <a:spcBef>
          <a:spcPts val="879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276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893460" rtl="0" eaLnBrk="1" latinLnBrk="0" hangingPunct="1">
        <a:lnSpc>
          <a:spcPct val="100000"/>
        </a:lnSpc>
        <a:spcBef>
          <a:spcPts val="0"/>
        </a:spcBef>
        <a:spcAft>
          <a:spcPts val="879"/>
        </a:spcAft>
        <a:buClr>
          <a:srgbClr val="595959"/>
        </a:buClr>
        <a:buFont typeface="Arial" panose="020B0604020202020204" pitchFamily="34" charset="0"/>
        <a:buChar char="​"/>
        <a:defRPr lang="en-US" sz="2345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1pPr>
      <a:lvl2pPr marL="44673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2pPr>
      <a:lvl3pPr marL="89346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3pPr>
      <a:lvl4pPr marL="134019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4pPr>
      <a:lvl5pPr marL="178692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5pPr>
      <a:lvl6pPr marL="223365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6pPr>
      <a:lvl7pPr marL="268038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7pPr>
      <a:lvl8pPr marL="312711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8pPr>
      <a:lvl9pPr marL="357384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130871042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1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E5D1245-5D0A-4784-9DC3-133BAD560783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15563" y="610114"/>
            <a:ext cx="10682794" cy="3256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15563" y="1788436"/>
            <a:ext cx="10682794" cy="4262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</a:p>
          <a:p>
            <a:pPr lvl="5"/>
            <a:r>
              <a:rPr lang="ru-RU"/>
              <a:t>Level six</a:t>
            </a:r>
          </a:p>
          <a:p>
            <a:pPr lvl="6"/>
            <a:r>
              <a:rPr lang="ru-RU"/>
              <a:t>Level seven</a:t>
            </a:r>
          </a:p>
          <a:p>
            <a:pPr lvl="7"/>
            <a:r>
              <a:rPr lang="ru-RU"/>
              <a:t>Level eight</a:t>
            </a:r>
          </a:p>
          <a:p>
            <a:pPr lvl="8"/>
            <a:r>
              <a:rPr lang="ru-RU"/>
              <a:t>Level nine</a:t>
            </a:r>
            <a:endParaRPr lang="ru-RU" dirty="0"/>
          </a:p>
        </p:txBody>
      </p:sp>
      <p:pic>
        <p:nvPicPr>
          <p:cNvPr id="7" name="Picture 6"/>
          <p:cNvPicPr preferRelativeResize="0"/>
          <p:nvPr userDrawn="1"/>
        </p:nvPicPr>
        <p:blipFill rotWithShape="1">
          <a:blip r:embed="rId72">
            <a:alphaModFix/>
          </a:blip>
          <a:srcRect l="-57" t="571" r="55" b="32592"/>
          <a:stretch/>
        </p:blipFill>
        <p:spPr>
          <a:xfrm>
            <a:off x="11106435" y="100428"/>
            <a:ext cx="714447" cy="92237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625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756" r:id="rId22"/>
    <p:sldLayoutId id="2147483757" r:id="rId23"/>
    <p:sldLayoutId id="2147483758" r:id="rId24"/>
    <p:sldLayoutId id="2147483759" r:id="rId25"/>
    <p:sldLayoutId id="2147483760" r:id="rId26"/>
    <p:sldLayoutId id="2147483761" r:id="rId27"/>
    <p:sldLayoutId id="2147483762" r:id="rId28"/>
    <p:sldLayoutId id="2147483763" r:id="rId29"/>
    <p:sldLayoutId id="2147483764" r:id="rId30"/>
    <p:sldLayoutId id="2147483765" r:id="rId31"/>
    <p:sldLayoutId id="2147483766" r:id="rId32"/>
    <p:sldLayoutId id="2147483767" r:id="rId33"/>
    <p:sldLayoutId id="2147483768" r:id="rId34"/>
    <p:sldLayoutId id="2147483769" r:id="rId35"/>
    <p:sldLayoutId id="2147483770" r:id="rId36"/>
    <p:sldLayoutId id="2147483771" r:id="rId37"/>
    <p:sldLayoutId id="2147483772" r:id="rId38"/>
    <p:sldLayoutId id="2147483773" r:id="rId39"/>
    <p:sldLayoutId id="2147483774" r:id="rId40"/>
    <p:sldLayoutId id="2147483775" r:id="rId41"/>
    <p:sldLayoutId id="2147483776" r:id="rId42"/>
    <p:sldLayoutId id="2147483777" r:id="rId43"/>
    <p:sldLayoutId id="2147483778" r:id="rId44"/>
    <p:sldLayoutId id="2147483779" r:id="rId45"/>
    <p:sldLayoutId id="2147483780" r:id="rId46"/>
    <p:sldLayoutId id="2147483781" r:id="rId47"/>
    <p:sldLayoutId id="2147483782" r:id="rId48"/>
    <p:sldLayoutId id="2147483783" r:id="rId49"/>
    <p:sldLayoutId id="2147483784" r:id="rId50"/>
    <p:sldLayoutId id="2147483785" r:id="rId51"/>
    <p:sldLayoutId id="2147483786" r:id="rId52"/>
    <p:sldLayoutId id="2147483787" r:id="rId53"/>
    <p:sldLayoutId id="2147483788" r:id="rId54"/>
    <p:sldLayoutId id="2147483789" r:id="rId55"/>
    <p:sldLayoutId id="2147483790" r:id="rId56"/>
    <p:sldLayoutId id="2147483791" r:id="rId57"/>
    <p:sldLayoutId id="2147483792" r:id="rId58"/>
    <p:sldLayoutId id="2147483793" r:id="rId59"/>
    <p:sldLayoutId id="2147483794" r:id="rId60"/>
    <p:sldLayoutId id="2147483795" r:id="rId61"/>
    <p:sldLayoutId id="2147483796" r:id="rId62"/>
    <p:sldLayoutId id="2147483797" r:id="rId63"/>
    <p:sldLayoutId id="2147483798" r:id="rId64"/>
    <p:sldLayoutId id="2147483799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93460" rtl="0" eaLnBrk="1" latinLnBrk="0" hangingPunct="1">
        <a:lnSpc>
          <a:spcPct val="90000"/>
        </a:lnSpc>
        <a:spcBef>
          <a:spcPct val="0"/>
        </a:spcBef>
        <a:buNone/>
        <a:defRPr sz="2345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893460" rtl="0" eaLnBrk="1" latinLnBrk="0" hangingPunct="1">
        <a:lnSpc>
          <a:spcPct val="110000"/>
        </a:lnSpc>
        <a:spcBef>
          <a:spcPts val="586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77887" indent="-168843" algn="l" defTabSz="893460" rtl="0" eaLnBrk="1" latinLnBrk="0" hangingPunct="1">
        <a:lnSpc>
          <a:spcPct val="90000"/>
        </a:lnSpc>
        <a:spcBef>
          <a:spcPts val="0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•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499494" indent="-161808" algn="l" defTabSz="893460" rtl="0" eaLnBrk="1" latinLnBrk="0" hangingPunct="1">
        <a:lnSpc>
          <a:spcPct val="90000"/>
        </a:lnSpc>
        <a:spcBef>
          <a:spcPts val="0"/>
        </a:spcBef>
        <a:spcAft>
          <a:spcPts val="293"/>
        </a:spcAft>
        <a:buClr>
          <a:srgbClr val="595959"/>
        </a:buClr>
        <a:buFont typeface="Trebuchet MS" panose="020B0603020202020204" pitchFamily="34" charset="0"/>
        <a:buChar char="–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893460" rtl="0" eaLnBrk="1" latinLnBrk="0" hangingPunct="1">
        <a:lnSpc>
          <a:spcPct val="110000"/>
        </a:lnSpc>
        <a:spcBef>
          <a:spcPts val="293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56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893460" rtl="0" eaLnBrk="1" latinLnBrk="0" hangingPunct="1">
        <a:lnSpc>
          <a:spcPct val="100000"/>
        </a:lnSpc>
        <a:spcBef>
          <a:spcPts val="0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563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3695" indent="-148910" algn="l" defTabSz="893460" rtl="0" eaLnBrk="1" latinLnBrk="0" hangingPunct="1">
        <a:lnSpc>
          <a:spcPct val="90000"/>
        </a:lnSpc>
        <a:spcBef>
          <a:spcPts val="0"/>
        </a:spcBef>
        <a:spcAft>
          <a:spcPts val="586"/>
        </a:spcAft>
        <a:buClr>
          <a:srgbClr val="595959"/>
        </a:buClr>
        <a:buFont typeface="Arial" panose="020B0604020202020204" pitchFamily="34" charset="0"/>
        <a:buChar char="•"/>
        <a:defRPr lang="en-US" sz="1563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893460" rtl="0" eaLnBrk="1" latinLnBrk="0" hangingPunct="1">
        <a:lnSpc>
          <a:spcPct val="90000"/>
        </a:lnSpc>
        <a:spcBef>
          <a:spcPts val="879"/>
        </a:spcBef>
        <a:spcAft>
          <a:spcPts val="879"/>
        </a:spcAft>
        <a:buClr>
          <a:srgbClr val="595959"/>
        </a:buClr>
        <a:buFont typeface="Arial" panose="020B0604020202020204" pitchFamily="34" charset="0"/>
        <a:buChar char="​"/>
        <a:defRPr lang="en-US" sz="4299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893460" rtl="0" eaLnBrk="1" latinLnBrk="0" hangingPunct="1">
        <a:lnSpc>
          <a:spcPct val="90000"/>
        </a:lnSpc>
        <a:spcBef>
          <a:spcPts val="879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276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893460" rtl="0" eaLnBrk="1" latinLnBrk="0" hangingPunct="1">
        <a:lnSpc>
          <a:spcPct val="100000"/>
        </a:lnSpc>
        <a:spcBef>
          <a:spcPts val="0"/>
        </a:spcBef>
        <a:spcAft>
          <a:spcPts val="879"/>
        </a:spcAft>
        <a:buClr>
          <a:srgbClr val="595959"/>
        </a:buClr>
        <a:buFont typeface="Arial" panose="020B0604020202020204" pitchFamily="34" charset="0"/>
        <a:buChar char="​"/>
        <a:defRPr lang="en-US" sz="2345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1pPr>
      <a:lvl2pPr marL="44673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2pPr>
      <a:lvl3pPr marL="89346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3pPr>
      <a:lvl4pPr marL="134019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4pPr>
      <a:lvl5pPr marL="178692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5pPr>
      <a:lvl6pPr marL="223365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6pPr>
      <a:lvl7pPr marL="268038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7pPr>
      <a:lvl8pPr marL="312711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8pPr>
      <a:lvl9pPr marL="357384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4"/>
            </p:custDataLst>
            <p:extLst>
              <p:ext uri="{D42A27DB-BD31-4B8C-83A1-F6EECF244321}">
                <p14:modId xmlns:p14="http://schemas.microsoft.com/office/powerpoint/2010/main" val="2790660809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5" name="think-cell Slide" r:id="rId66" imgW="270" imgH="270" progId="TCLayout.ActiveDocument.1">
                  <p:embed/>
                </p:oleObj>
              </mc:Choice>
              <mc:Fallback>
                <p:oleObj name="think-cell Slide" r:id="rId6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9B559804-2E1D-4C73-A35C-56C47B5387A0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15563" y="610114"/>
            <a:ext cx="10682794" cy="3256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15563" y="1788436"/>
            <a:ext cx="10682794" cy="4262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  <a:p>
            <a:pPr lvl="1"/>
            <a:r>
              <a:rPr lang="ru-RU" dirty="0" err="1"/>
              <a:t>Secon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2"/>
            <a:r>
              <a:rPr lang="ru-RU" dirty="0" err="1"/>
              <a:t>Thir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3"/>
            <a:r>
              <a:rPr lang="ru-RU" dirty="0" err="1"/>
              <a:t>Fourth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4"/>
            <a:r>
              <a:rPr lang="ru-RU" dirty="0" err="1"/>
              <a:t>Fifth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5"/>
            <a:r>
              <a:rPr lang="ru-RU" dirty="0" err="1"/>
              <a:t>Level</a:t>
            </a:r>
            <a:r>
              <a:rPr lang="ru-RU" dirty="0"/>
              <a:t> </a:t>
            </a:r>
            <a:r>
              <a:rPr lang="ru-RU" dirty="0" err="1"/>
              <a:t>six</a:t>
            </a:r>
            <a:endParaRPr lang="ru-RU" dirty="0"/>
          </a:p>
          <a:p>
            <a:pPr lvl="6"/>
            <a:r>
              <a:rPr lang="ru-RU" dirty="0" err="1"/>
              <a:t>Level</a:t>
            </a:r>
            <a:r>
              <a:rPr lang="ru-RU" dirty="0"/>
              <a:t> </a:t>
            </a:r>
            <a:r>
              <a:rPr lang="ru-RU" dirty="0" err="1"/>
              <a:t>seven</a:t>
            </a:r>
            <a:endParaRPr lang="ru-RU" dirty="0"/>
          </a:p>
          <a:p>
            <a:pPr lvl="7"/>
            <a:r>
              <a:rPr lang="ru-RU" dirty="0" err="1"/>
              <a:t>Level</a:t>
            </a:r>
            <a:r>
              <a:rPr lang="ru-RU" dirty="0"/>
              <a:t> </a:t>
            </a:r>
            <a:r>
              <a:rPr lang="ru-RU" dirty="0" err="1"/>
              <a:t>eight</a:t>
            </a:r>
            <a:endParaRPr lang="ru-RU" dirty="0"/>
          </a:p>
          <a:p>
            <a:pPr lvl="8"/>
            <a:r>
              <a:rPr lang="ru-RU" dirty="0" err="1"/>
              <a:t>Level</a:t>
            </a:r>
            <a:r>
              <a:rPr lang="ru-RU" dirty="0"/>
              <a:t> </a:t>
            </a:r>
            <a:r>
              <a:rPr lang="ru-RU" dirty="0" err="1"/>
              <a:t>n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5060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822" r:id="rId22"/>
    <p:sldLayoutId id="2147483823" r:id="rId23"/>
    <p:sldLayoutId id="2147483824" r:id="rId24"/>
    <p:sldLayoutId id="2147483825" r:id="rId25"/>
    <p:sldLayoutId id="2147483826" r:id="rId26"/>
    <p:sldLayoutId id="2147483827" r:id="rId27"/>
    <p:sldLayoutId id="2147483828" r:id="rId28"/>
    <p:sldLayoutId id="2147483829" r:id="rId29"/>
    <p:sldLayoutId id="2147483830" r:id="rId30"/>
    <p:sldLayoutId id="2147483831" r:id="rId31"/>
    <p:sldLayoutId id="2147483832" r:id="rId32"/>
    <p:sldLayoutId id="2147483833" r:id="rId33"/>
    <p:sldLayoutId id="2147483834" r:id="rId34"/>
    <p:sldLayoutId id="2147483835" r:id="rId35"/>
    <p:sldLayoutId id="2147483836" r:id="rId36"/>
    <p:sldLayoutId id="2147483837" r:id="rId37"/>
    <p:sldLayoutId id="2147483838" r:id="rId38"/>
    <p:sldLayoutId id="2147483839" r:id="rId39"/>
    <p:sldLayoutId id="2147483840" r:id="rId40"/>
    <p:sldLayoutId id="2147483841" r:id="rId41"/>
    <p:sldLayoutId id="2147483842" r:id="rId42"/>
    <p:sldLayoutId id="2147483843" r:id="rId43"/>
    <p:sldLayoutId id="2147483844" r:id="rId44"/>
    <p:sldLayoutId id="2147483845" r:id="rId45"/>
    <p:sldLayoutId id="2147483846" r:id="rId46"/>
    <p:sldLayoutId id="2147483847" r:id="rId47"/>
    <p:sldLayoutId id="2147483848" r:id="rId48"/>
    <p:sldLayoutId id="2147483849" r:id="rId49"/>
    <p:sldLayoutId id="2147483850" r:id="rId50"/>
    <p:sldLayoutId id="2147483851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58" r:id="rId58"/>
    <p:sldLayoutId id="2147483859" r:id="rId59"/>
    <p:sldLayoutId id="2147483860" r:id="rId60"/>
    <p:sldLayoutId id="2147483861" r:id="rId6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93460" rtl="0" eaLnBrk="1" latinLnBrk="0" hangingPunct="1">
        <a:lnSpc>
          <a:spcPct val="90000"/>
        </a:lnSpc>
        <a:spcBef>
          <a:spcPct val="0"/>
        </a:spcBef>
        <a:buNone/>
        <a:defRPr sz="2345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893460" rtl="0" eaLnBrk="1" latinLnBrk="0" hangingPunct="1">
        <a:lnSpc>
          <a:spcPct val="110000"/>
        </a:lnSpc>
        <a:spcBef>
          <a:spcPts val="586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77887" indent="-168843" algn="l" defTabSz="893460" rtl="0" eaLnBrk="1" latinLnBrk="0" hangingPunct="1">
        <a:lnSpc>
          <a:spcPct val="90000"/>
        </a:lnSpc>
        <a:spcBef>
          <a:spcPts val="0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•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499494" indent="-161808" algn="l" defTabSz="893460" rtl="0" eaLnBrk="1" latinLnBrk="0" hangingPunct="1">
        <a:lnSpc>
          <a:spcPct val="90000"/>
        </a:lnSpc>
        <a:spcBef>
          <a:spcPts val="0"/>
        </a:spcBef>
        <a:spcAft>
          <a:spcPts val="293"/>
        </a:spcAft>
        <a:buClr>
          <a:srgbClr val="595959"/>
        </a:buClr>
        <a:buFont typeface="Trebuchet MS" panose="020B0603020202020204" pitchFamily="34" charset="0"/>
        <a:buChar char="–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893460" rtl="0" eaLnBrk="1" latinLnBrk="0" hangingPunct="1">
        <a:lnSpc>
          <a:spcPct val="110000"/>
        </a:lnSpc>
        <a:spcBef>
          <a:spcPts val="293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56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893460" rtl="0" eaLnBrk="1" latinLnBrk="0" hangingPunct="1">
        <a:lnSpc>
          <a:spcPct val="100000"/>
        </a:lnSpc>
        <a:spcBef>
          <a:spcPts val="0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563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3695" indent="-148910" algn="l" defTabSz="893460" rtl="0" eaLnBrk="1" latinLnBrk="0" hangingPunct="1">
        <a:lnSpc>
          <a:spcPct val="90000"/>
        </a:lnSpc>
        <a:spcBef>
          <a:spcPts val="0"/>
        </a:spcBef>
        <a:spcAft>
          <a:spcPts val="586"/>
        </a:spcAft>
        <a:buClr>
          <a:srgbClr val="595959"/>
        </a:buClr>
        <a:buFont typeface="Arial" panose="020B0604020202020204" pitchFamily="34" charset="0"/>
        <a:buChar char="•"/>
        <a:defRPr lang="en-US" sz="1563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893460" rtl="0" eaLnBrk="1" latinLnBrk="0" hangingPunct="1">
        <a:lnSpc>
          <a:spcPct val="90000"/>
        </a:lnSpc>
        <a:spcBef>
          <a:spcPts val="879"/>
        </a:spcBef>
        <a:spcAft>
          <a:spcPts val="879"/>
        </a:spcAft>
        <a:buClr>
          <a:srgbClr val="595959"/>
        </a:buClr>
        <a:buFont typeface="Arial" panose="020B0604020202020204" pitchFamily="34" charset="0"/>
        <a:buChar char="​"/>
        <a:defRPr lang="en-US" sz="4299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893460" rtl="0" eaLnBrk="1" latinLnBrk="0" hangingPunct="1">
        <a:lnSpc>
          <a:spcPct val="90000"/>
        </a:lnSpc>
        <a:spcBef>
          <a:spcPts val="879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276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893460" rtl="0" eaLnBrk="1" latinLnBrk="0" hangingPunct="1">
        <a:lnSpc>
          <a:spcPct val="100000"/>
        </a:lnSpc>
        <a:spcBef>
          <a:spcPts val="0"/>
        </a:spcBef>
        <a:spcAft>
          <a:spcPts val="879"/>
        </a:spcAft>
        <a:buClr>
          <a:srgbClr val="595959"/>
        </a:buClr>
        <a:buFont typeface="Arial" panose="020B0604020202020204" pitchFamily="34" charset="0"/>
        <a:buChar char="​"/>
        <a:defRPr lang="en-US" sz="2345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1pPr>
      <a:lvl2pPr marL="44673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2pPr>
      <a:lvl3pPr marL="89346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3pPr>
      <a:lvl4pPr marL="134019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4pPr>
      <a:lvl5pPr marL="178692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5pPr>
      <a:lvl6pPr marL="223365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6pPr>
      <a:lvl7pPr marL="268038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7pPr>
      <a:lvl8pPr marL="312711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8pPr>
      <a:lvl9pPr marL="357384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BB0A502-8B2A-4CF1-BF71-3B3AAA3D6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2365933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43" name="think-cell Slide" r:id="rId67" imgW="498" imgH="499" progId="TCLayout.ActiveDocument.1">
                  <p:embed/>
                </p:oleObj>
              </mc:Choice>
              <mc:Fallback>
                <p:oleObj name="think-cell Slide" r:id="rId67" imgW="498" imgH="499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2BB0A502-8B2A-4CF1-BF71-3B3AAA3D6B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130323" y="6274955"/>
            <a:ext cx="153888" cy="15036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>
            <a:spAutoFit/>
          </a:bodyPr>
          <a:lstStyle>
            <a:lvl1pPr algn="r">
              <a:defRPr sz="977">
                <a:solidFill>
                  <a:srgbClr val="808080"/>
                </a:solidFill>
              </a:defRPr>
            </a:lvl1pPr>
          </a:lstStyle>
          <a:p>
            <a:fld id="{86CB4B4D-7CA3-9044-876B-883B54F8677D}" type="slidenum">
              <a:rPr lang="ru-RU"/>
              <a:t>‹#›</a:t>
            </a:fld>
            <a:endParaRPr lang="ru-RU" dirty="0"/>
          </a:p>
        </p:txBody>
      </p:sp>
      <p:sp>
        <p:nvSpPr>
          <p:cNvPr id="3" name="Rectangle 7"/>
          <p:cNvSpPr/>
          <p:nvPr/>
        </p:nvSpPr>
        <p:spPr>
          <a:xfrm>
            <a:off x="0" y="0"/>
            <a:ext cx="11912600" cy="1132158"/>
          </a:xfrm>
          <a:prstGeom prst="rect">
            <a:avLst/>
          </a:prstGeom>
          <a:solidFill>
            <a:schemeClr val="accent2">
              <a:lumOff val="21764"/>
            </a:schemeClr>
          </a:solidFill>
          <a:ln cap="rnd">
            <a:solidFill>
              <a:schemeClr val="accent2">
                <a:lumOff val="21764"/>
              </a:schemeClr>
            </a:solidFill>
          </a:ln>
        </p:spPr>
        <p:txBody>
          <a:bodyPr lIns="44671" rIns="44671" anchor="ctr"/>
          <a:lstStyle/>
          <a:p>
            <a:pPr algn="ctr" eaLnBrk="1">
              <a:defRPr sz="1200">
                <a:solidFill>
                  <a:srgbClr val="FFFFFF"/>
                </a:solidFill>
              </a:defRPr>
            </a:pPr>
            <a:endParaRPr lang="ru-RU" sz="1173" dirty="0"/>
          </a:p>
        </p:txBody>
      </p:sp>
      <p:sp>
        <p:nvSpPr>
          <p:cNvPr id="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5562" y="335425"/>
            <a:ext cx="10676590" cy="4613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/>
          <a:p>
            <a:r>
              <a:rPr lang="ru-RU" dirty="0" err="1"/>
              <a:t>Текст</a:t>
            </a:r>
            <a:r>
              <a:rPr lang="ru-RU" dirty="0"/>
              <a:t> </a:t>
            </a:r>
            <a:r>
              <a:rPr lang="ru-RU" dirty="0" err="1"/>
              <a:t>заголовка</a:t>
            </a:r>
            <a:endParaRPr lang="ru-RU" dirty="0"/>
          </a:p>
        </p:txBody>
      </p:sp>
      <p:sp>
        <p:nvSpPr>
          <p:cNvPr id="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595630" y="1567603"/>
            <a:ext cx="10721340" cy="51506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1</a:t>
            </a:r>
          </a:p>
          <a:p>
            <a:pPr lvl="1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2</a:t>
            </a:r>
          </a:p>
          <a:p>
            <a:pPr lvl="2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3</a:t>
            </a:r>
          </a:p>
          <a:p>
            <a:pPr lvl="3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4</a:t>
            </a:r>
          </a:p>
          <a:p>
            <a:pPr lvl="4"/>
            <a:r>
              <a:rPr lang="ru-RU" dirty="0" err="1"/>
              <a:t>Уровень</a:t>
            </a:r>
            <a:r>
              <a:rPr lang="ru-RU" dirty="0"/>
              <a:t> </a:t>
            </a:r>
            <a:r>
              <a:rPr lang="ru-RU" dirty="0" err="1"/>
              <a:t>текста</a:t>
            </a:r>
            <a:r>
              <a:rPr lang="ru-RU" dirty="0"/>
              <a:t> 5</a:t>
            </a:r>
          </a:p>
        </p:txBody>
      </p:sp>
    </p:spTree>
    <p:extLst>
      <p:ext uri="{BB962C8B-B14F-4D97-AF65-F5344CB8AC3E}">
        <p14:creationId xmlns:p14="http://schemas.microsoft.com/office/powerpoint/2010/main" val="1527181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  <p:sldLayoutId id="2147483884" r:id="rId21"/>
    <p:sldLayoutId id="2147483885" r:id="rId22"/>
    <p:sldLayoutId id="2147483886" r:id="rId23"/>
    <p:sldLayoutId id="2147483887" r:id="rId24"/>
    <p:sldLayoutId id="2147483888" r:id="rId25"/>
    <p:sldLayoutId id="2147483889" r:id="rId26"/>
    <p:sldLayoutId id="2147483890" r:id="rId27"/>
    <p:sldLayoutId id="2147483892" r:id="rId28"/>
    <p:sldLayoutId id="2147483893" r:id="rId29"/>
    <p:sldLayoutId id="2147483894" r:id="rId30"/>
    <p:sldLayoutId id="2147483895" r:id="rId31"/>
    <p:sldLayoutId id="2147483896" r:id="rId32"/>
    <p:sldLayoutId id="2147483897" r:id="rId33"/>
    <p:sldLayoutId id="2147483898" r:id="rId34"/>
    <p:sldLayoutId id="2147483899" r:id="rId35"/>
    <p:sldLayoutId id="2147483900" r:id="rId36"/>
    <p:sldLayoutId id="2147483901" r:id="rId37"/>
    <p:sldLayoutId id="2147483902" r:id="rId38"/>
    <p:sldLayoutId id="2147483903" r:id="rId39"/>
    <p:sldLayoutId id="2147483904" r:id="rId40"/>
    <p:sldLayoutId id="2147483905" r:id="rId41"/>
    <p:sldLayoutId id="2147483906" r:id="rId42"/>
    <p:sldLayoutId id="2147483907" r:id="rId43"/>
    <p:sldLayoutId id="2147483908" r:id="rId44"/>
    <p:sldLayoutId id="2147483909" r:id="rId45"/>
    <p:sldLayoutId id="2147483910" r:id="rId46"/>
    <p:sldLayoutId id="2147483911" r:id="rId47"/>
    <p:sldLayoutId id="2147483912" r:id="rId48"/>
    <p:sldLayoutId id="2147483913" r:id="rId49"/>
    <p:sldLayoutId id="2147483914" r:id="rId50"/>
    <p:sldLayoutId id="2147483915" r:id="rId51"/>
    <p:sldLayoutId id="2147483916" r:id="rId52"/>
    <p:sldLayoutId id="2147483917" r:id="rId53"/>
    <p:sldLayoutId id="2147483918" r:id="rId54"/>
    <p:sldLayoutId id="2147483919" r:id="rId55"/>
    <p:sldLayoutId id="2147483920" r:id="rId56"/>
    <p:sldLayoutId id="2147483921" r:id="rId57"/>
    <p:sldLayoutId id="2147483922" r:id="rId58"/>
    <p:sldLayoutId id="2147483923" r:id="rId59"/>
    <p:sldLayoutId id="2147483924" r:id="rId60"/>
    <p:sldLayoutId id="2147483925" r:id="rId61"/>
    <p:sldLayoutId id="2147483926" r:id="rId62"/>
    <p:sldLayoutId id="2147483927" r:id="rId63"/>
  </p:sldLayoutIdLst>
  <p:transition spd="med"/>
  <p:txStyles>
    <p:titleStyle>
      <a:lvl1pPr marL="0" marR="0" indent="0" algn="l" defTabSz="89346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22" b="1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PT Sans Caption"/>
        </a:defRPr>
      </a:lvl1pPr>
      <a:lvl2pPr marL="0" marR="0" indent="0" algn="l" defTabSz="89346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22" b="1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PT Sans Caption"/>
        </a:defRPr>
      </a:lvl2pPr>
      <a:lvl3pPr marL="0" marR="0" indent="0" algn="l" defTabSz="89346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22" b="1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PT Sans Caption"/>
        </a:defRPr>
      </a:lvl3pPr>
      <a:lvl4pPr marL="0" marR="0" indent="0" algn="l" defTabSz="89346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22" b="1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PT Sans Caption"/>
        </a:defRPr>
      </a:lvl4pPr>
      <a:lvl5pPr marL="0" marR="0" indent="0" algn="l" defTabSz="89346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22" b="1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PT Sans Caption"/>
        </a:defRPr>
      </a:lvl5pPr>
      <a:lvl6pPr marL="0" marR="0" indent="0" algn="l" defTabSz="89346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22" b="1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PT Sans Caption"/>
        </a:defRPr>
      </a:lvl6pPr>
      <a:lvl7pPr marL="0" marR="0" indent="0" algn="l" defTabSz="89346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22" b="1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PT Sans Caption"/>
        </a:defRPr>
      </a:lvl7pPr>
      <a:lvl8pPr marL="0" marR="0" indent="0" algn="l" defTabSz="89346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22" b="1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PT Sans Caption"/>
        </a:defRPr>
      </a:lvl8pPr>
      <a:lvl9pPr marL="0" marR="0" indent="0" algn="l" defTabSz="89346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22" b="1" i="0" u="none" strike="noStrike" cap="none" spc="0" baseline="0">
          <a:ln>
            <a:noFill/>
          </a:ln>
          <a:solidFill>
            <a:srgbClr val="FFFFFF"/>
          </a:solidFill>
          <a:uFillTx/>
          <a:latin typeface="+mn-lt"/>
          <a:ea typeface="+mn-ea"/>
          <a:cs typeface="+mn-cs"/>
          <a:sym typeface="PT Sans Caption"/>
        </a:defRPr>
      </a:lvl9pPr>
    </p:titleStyle>
    <p:bodyStyle>
      <a:lvl1pPr marL="0" marR="0" indent="0" algn="l" defTabSz="893460" rtl="0" latinLnBrk="0">
        <a:lnSpc>
          <a:spcPct val="110000"/>
        </a:lnSpc>
        <a:spcBef>
          <a:spcPts val="586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173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PT Sans Caption"/>
        </a:defRPr>
      </a:lvl1pPr>
      <a:lvl2pPr marL="277887" marR="0" indent="-168843" algn="l" defTabSz="893460" rtl="0" latinLnBrk="0">
        <a:lnSpc>
          <a:spcPct val="110000"/>
        </a:lnSpc>
        <a:spcBef>
          <a:spcPts val="586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•"/>
        <a:tabLst/>
        <a:defRPr sz="1173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PT Sans Caption"/>
        </a:defRPr>
      </a:lvl2pPr>
      <a:lvl3pPr marL="499493" marR="0" indent="-161808" algn="l" defTabSz="893460" rtl="0" latinLnBrk="0">
        <a:lnSpc>
          <a:spcPct val="110000"/>
        </a:lnSpc>
        <a:spcBef>
          <a:spcPts val="586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–"/>
        <a:tabLst/>
        <a:defRPr sz="1173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PT Sans Caption"/>
        </a:defRPr>
      </a:lvl3pPr>
      <a:lvl4pPr marL="0" marR="0" indent="0" algn="l" defTabSz="893460" rtl="0" latinLnBrk="0">
        <a:lnSpc>
          <a:spcPct val="110000"/>
        </a:lnSpc>
        <a:spcBef>
          <a:spcPts val="586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173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PT Sans Caption"/>
        </a:defRPr>
      </a:lvl4pPr>
      <a:lvl5pPr marL="0" marR="0" indent="0" algn="l" defTabSz="893460" rtl="0" latinLnBrk="0">
        <a:lnSpc>
          <a:spcPct val="110000"/>
        </a:lnSpc>
        <a:spcBef>
          <a:spcPts val="586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173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PT Sans Caption"/>
        </a:defRPr>
      </a:lvl5pPr>
      <a:lvl6pPr marL="226467" marR="0" indent="-111683" algn="l" defTabSz="893460" rtl="0" latinLnBrk="0">
        <a:lnSpc>
          <a:spcPct val="110000"/>
        </a:lnSpc>
        <a:spcBef>
          <a:spcPts val="586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•"/>
        <a:tabLst/>
        <a:defRPr sz="1173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PT Sans Caption"/>
        </a:defRPr>
      </a:lvl6pPr>
      <a:lvl7pPr marL="0" marR="0" indent="0" algn="l" defTabSz="893460" rtl="0" latinLnBrk="0">
        <a:lnSpc>
          <a:spcPct val="110000"/>
        </a:lnSpc>
        <a:spcBef>
          <a:spcPts val="586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173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PT Sans Caption"/>
        </a:defRPr>
      </a:lvl7pPr>
      <a:lvl8pPr marL="0" marR="0" indent="0" algn="l" defTabSz="893460" rtl="0" latinLnBrk="0">
        <a:lnSpc>
          <a:spcPct val="110000"/>
        </a:lnSpc>
        <a:spcBef>
          <a:spcPts val="586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173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PT Sans Caption"/>
        </a:defRPr>
      </a:lvl8pPr>
      <a:lvl9pPr marL="0" marR="0" indent="0" algn="l" defTabSz="893460" rtl="0" latinLnBrk="0">
        <a:lnSpc>
          <a:spcPct val="110000"/>
        </a:lnSpc>
        <a:spcBef>
          <a:spcPts val="586"/>
        </a:spcBef>
        <a:spcAft>
          <a:spcPts val="0"/>
        </a:spcAft>
        <a:buClr>
          <a:schemeClr val="accent2">
            <a:lumOff val="21764"/>
          </a:schemeClr>
        </a:buClr>
        <a:buSzPct val="100000"/>
        <a:buFont typeface="Arial"/>
        <a:buChar char="​"/>
        <a:tabLst/>
        <a:defRPr sz="1173" b="0" i="0" u="none" strike="noStrike" cap="none" spc="0" baseline="0">
          <a:ln>
            <a:noFill/>
          </a:ln>
          <a:solidFill>
            <a:schemeClr val="accent2">
              <a:lumOff val="21764"/>
            </a:schemeClr>
          </a:solidFill>
          <a:uFillTx/>
          <a:latin typeface="+mn-lt"/>
          <a:ea typeface="+mn-ea"/>
          <a:cs typeface="+mn-cs"/>
          <a:sym typeface="PT Sans Caption"/>
        </a:defRPr>
      </a:lvl9pPr>
    </p:bodyStyle>
    <p:otherStyle>
      <a:lvl1pPr marL="0" marR="0" indent="0" algn="r" defTabSz="89346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7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1pPr>
      <a:lvl2pPr marL="0" marR="0" indent="446730" algn="r" defTabSz="89346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7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2pPr>
      <a:lvl3pPr marL="0" marR="0" indent="893460" algn="r" defTabSz="89346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7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3pPr>
      <a:lvl4pPr marL="0" marR="0" indent="1340190" algn="r" defTabSz="89346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7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4pPr>
      <a:lvl5pPr marL="0" marR="0" indent="1786920" algn="r" defTabSz="89346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7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5pPr>
      <a:lvl6pPr marL="0" marR="0" indent="2233651" algn="r" defTabSz="89346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7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6pPr>
      <a:lvl7pPr marL="0" marR="0" indent="2680381" algn="r" defTabSz="89346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7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7pPr>
      <a:lvl8pPr marL="0" marR="0" indent="3127111" algn="r" defTabSz="89346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7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8pPr>
      <a:lvl9pPr marL="0" marR="0" indent="3573841" algn="r" defTabSz="89346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77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T Sans Caption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2394167397"/>
              </p:ext>
            </p:extLst>
          </p:nvPr>
        </p:nvGraphicFramePr>
        <p:xfrm>
          <a:off x="1552" y="1556"/>
          <a:ext cx="1551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1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52" y="1556"/>
                        <a:ext cx="1551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385BF4F2-80FA-4C30-81C1-3EFCEA565AAF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0" y="0"/>
            <a:ext cx="155112" cy="155516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55627" y="6274563"/>
            <a:ext cx="1448087" cy="1507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77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0911941" y="6274563"/>
            <a:ext cx="372269" cy="15075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934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ru-RU" sz="977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8934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ru-RU" sz="977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15563" y="610114"/>
            <a:ext cx="10682794" cy="3256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itle</a:t>
            </a:r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15563" y="1788436"/>
            <a:ext cx="10682794" cy="42627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  <a:p>
            <a:pPr lvl="1"/>
            <a:r>
              <a:rPr lang="ru-RU" dirty="0" err="1"/>
              <a:t>Secon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2"/>
            <a:r>
              <a:rPr lang="ru-RU" dirty="0" err="1"/>
              <a:t>Thir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3"/>
            <a:r>
              <a:rPr lang="ru-RU" dirty="0" err="1"/>
              <a:t>Fourth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4"/>
            <a:r>
              <a:rPr lang="ru-RU" dirty="0" err="1"/>
              <a:t>Fifth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5"/>
            <a:r>
              <a:rPr lang="ru-RU" dirty="0" err="1"/>
              <a:t>Level</a:t>
            </a:r>
            <a:r>
              <a:rPr lang="ru-RU" dirty="0"/>
              <a:t> </a:t>
            </a:r>
            <a:r>
              <a:rPr lang="ru-RU" dirty="0" err="1"/>
              <a:t>six</a:t>
            </a:r>
            <a:endParaRPr lang="ru-RU" dirty="0"/>
          </a:p>
          <a:p>
            <a:pPr lvl="6"/>
            <a:r>
              <a:rPr lang="ru-RU" dirty="0" err="1"/>
              <a:t>Level</a:t>
            </a:r>
            <a:r>
              <a:rPr lang="ru-RU" dirty="0"/>
              <a:t> </a:t>
            </a:r>
            <a:r>
              <a:rPr lang="ru-RU" dirty="0" err="1"/>
              <a:t>seven</a:t>
            </a:r>
            <a:endParaRPr lang="ru-RU" dirty="0"/>
          </a:p>
          <a:p>
            <a:pPr lvl="7"/>
            <a:r>
              <a:rPr lang="ru-RU" dirty="0" err="1"/>
              <a:t>Level</a:t>
            </a:r>
            <a:r>
              <a:rPr lang="ru-RU" dirty="0"/>
              <a:t> </a:t>
            </a:r>
            <a:r>
              <a:rPr lang="ru-RU" dirty="0" err="1"/>
              <a:t>eight</a:t>
            </a:r>
            <a:endParaRPr lang="ru-RU" dirty="0"/>
          </a:p>
          <a:p>
            <a:pPr lvl="8"/>
            <a:r>
              <a:rPr lang="ru-RU" dirty="0" err="1"/>
              <a:t>Level</a:t>
            </a:r>
            <a:r>
              <a:rPr lang="ru-RU" dirty="0"/>
              <a:t> </a:t>
            </a:r>
            <a:r>
              <a:rPr lang="ru-RU" dirty="0" err="1"/>
              <a:t>ni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905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40" r:id="rId12"/>
    <p:sldLayoutId id="2147483941" r:id="rId13"/>
    <p:sldLayoutId id="2147483942" r:id="rId14"/>
    <p:sldLayoutId id="2147483943" r:id="rId15"/>
    <p:sldLayoutId id="2147483944" r:id="rId16"/>
    <p:sldLayoutId id="2147483945" r:id="rId17"/>
    <p:sldLayoutId id="2147483946" r:id="rId18"/>
    <p:sldLayoutId id="2147483947" r:id="rId19"/>
    <p:sldLayoutId id="2147483948" r:id="rId20"/>
    <p:sldLayoutId id="2147483949" r:id="rId21"/>
    <p:sldLayoutId id="2147483950" r:id="rId22"/>
    <p:sldLayoutId id="2147483951" r:id="rId23"/>
    <p:sldLayoutId id="2147483952" r:id="rId24"/>
    <p:sldLayoutId id="2147483953" r:id="rId25"/>
    <p:sldLayoutId id="2147483954" r:id="rId26"/>
    <p:sldLayoutId id="2147483955" r:id="rId27"/>
    <p:sldLayoutId id="2147483956" r:id="rId28"/>
    <p:sldLayoutId id="2147483957" r:id="rId29"/>
    <p:sldLayoutId id="2147483958" r:id="rId30"/>
    <p:sldLayoutId id="2147483959" r:id="rId31"/>
    <p:sldLayoutId id="2147483960" r:id="rId32"/>
    <p:sldLayoutId id="2147483961" r:id="rId33"/>
    <p:sldLayoutId id="2147483962" r:id="rId34"/>
    <p:sldLayoutId id="2147483963" r:id="rId35"/>
    <p:sldLayoutId id="2147483964" r:id="rId36"/>
    <p:sldLayoutId id="2147483965" r:id="rId37"/>
    <p:sldLayoutId id="2147483966" r:id="rId38"/>
    <p:sldLayoutId id="2147483967" r:id="rId39"/>
    <p:sldLayoutId id="2147483968" r:id="rId40"/>
    <p:sldLayoutId id="2147483969" r:id="rId41"/>
    <p:sldLayoutId id="2147483970" r:id="rId42"/>
    <p:sldLayoutId id="2147483971" r:id="rId43"/>
    <p:sldLayoutId id="2147483972" r:id="rId44"/>
    <p:sldLayoutId id="2147483973" r:id="rId45"/>
    <p:sldLayoutId id="2147483974" r:id="rId46"/>
    <p:sldLayoutId id="2147483975" r:id="rId47"/>
    <p:sldLayoutId id="2147483976" r:id="rId48"/>
    <p:sldLayoutId id="2147483977" r:id="rId49"/>
    <p:sldLayoutId id="2147483978" r:id="rId50"/>
    <p:sldLayoutId id="2147483979" r:id="rId51"/>
    <p:sldLayoutId id="2147483980" r:id="rId52"/>
    <p:sldLayoutId id="2147483981" r:id="rId53"/>
    <p:sldLayoutId id="2147483982" r:id="rId54"/>
    <p:sldLayoutId id="2147483983" r:id="rId55"/>
    <p:sldLayoutId id="2147483984" r:id="rId56"/>
    <p:sldLayoutId id="2147483985" r:id="rId57"/>
    <p:sldLayoutId id="2147483986" r:id="rId58"/>
    <p:sldLayoutId id="2147483987" r:id="rId59"/>
    <p:sldLayoutId id="2147483988" r:id="rId60"/>
    <p:sldLayoutId id="2147483989" r:id="rId61"/>
    <p:sldLayoutId id="2147483990" r:id="rId62"/>
    <p:sldLayoutId id="2147483991" r:id="rId63"/>
    <p:sldLayoutId id="2147483992" r:id="rId64"/>
    <p:sldLayoutId id="2147483993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93460" rtl="0" eaLnBrk="1" latinLnBrk="0" hangingPunct="1">
        <a:lnSpc>
          <a:spcPct val="90000"/>
        </a:lnSpc>
        <a:spcBef>
          <a:spcPct val="0"/>
        </a:spcBef>
        <a:buNone/>
        <a:defRPr sz="2345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893460" rtl="0" eaLnBrk="1" latinLnBrk="0" hangingPunct="1">
        <a:lnSpc>
          <a:spcPct val="110000"/>
        </a:lnSpc>
        <a:spcBef>
          <a:spcPts val="586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77887" indent="-168843" algn="l" defTabSz="893460" rtl="0" eaLnBrk="1" latinLnBrk="0" hangingPunct="1">
        <a:lnSpc>
          <a:spcPct val="90000"/>
        </a:lnSpc>
        <a:spcBef>
          <a:spcPts val="0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•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499494" indent="-161808" algn="l" defTabSz="893460" rtl="0" eaLnBrk="1" latinLnBrk="0" hangingPunct="1">
        <a:lnSpc>
          <a:spcPct val="90000"/>
        </a:lnSpc>
        <a:spcBef>
          <a:spcPts val="0"/>
        </a:spcBef>
        <a:spcAft>
          <a:spcPts val="293"/>
        </a:spcAft>
        <a:buClr>
          <a:srgbClr val="595959"/>
        </a:buClr>
        <a:buFont typeface="Trebuchet MS" panose="020B0603020202020204" pitchFamily="34" charset="0"/>
        <a:buChar char="–"/>
        <a:defRPr lang="en-US" sz="117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893460" rtl="0" eaLnBrk="1" latinLnBrk="0" hangingPunct="1">
        <a:lnSpc>
          <a:spcPct val="110000"/>
        </a:lnSpc>
        <a:spcBef>
          <a:spcPts val="293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563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893460" rtl="0" eaLnBrk="1" latinLnBrk="0" hangingPunct="1">
        <a:lnSpc>
          <a:spcPct val="100000"/>
        </a:lnSpc>
        <a:spcBef>
          <a:spcPts val="0"/>
        </a:spcBef>
        <a:spcAft>
          <a:spcPts val="293"/>
        </a:spcAft>
        <a:buClr>
          <a:srgbClr val="595959"/>
        </a:buClr>
        <a:buFont typeface="Arial" panose="020B0604020202020204" pitchFamily="34" charset="0"/>
        <a:buChar char="​"/>
        <a:defRPr lang="en-US" sz="1563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3695" indent="-148910" algn="l" defTabSz="893460" rtl="0" eaLnBrk="1" latinLnBrk="0" hangingPunct="1">
        <a:lnSpc>
          <a:spcPct val="90000"/>
        </a:lnSpc>
        <a:spcBef>
          <a:spcPts val="0"/>
        </a:spcBef>
        <a:spcAft>
          <a:spcPts val="586"/>
        </a:spcAft>
        <a:buClr>
          <a:srgbClr val="595959"/>
        </a:buClr>
        <a:buFont typeface="Arial" panose="020B0604020202020204" pitchFamily="34" charset="0"/>
        <a:buChar char="•"/>
        <a:defRPr lang="en-US" sz="1563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893460" rtl="0" eaLnBrk="1" latinLnBrk="0" hangingPunct="1">
        <a:lnSpc>
          <a:spcPct val="90000"/>
        </a:lnSpc>
        <a:spcBef>
          <a:spcPts val="879"/>
        </a:spcBef>
        <a:spcAft>
          <a:spcPts val="879"/>
        </a:spcAft>
        <a:buClr>
          <a:srgbClr val="595959"/>
        </a:buClr>
        <a:buFont typeface="Arial" panose="020B0604020202020204" pitchFamily="34" charset="0"/>
        <a:buChar char="​"/>
        <a:defRPr lang="en-US" sz="4299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893460" rtl="0" eaLnBrk="1" latinLnBrk="0" hangingPunct="1">
        <a:lnSpc>
          <a:spcPct val="90000"/>
        </a:lnSpc>
        <a:spcBef>
          <a:spcPts val="879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276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893460" rtl="0" eaLnBrk="1" latinLnBrk="0" hangingPunct="1">
        <a:lnSpc>
          <a:spcPct val="100000"/>
        </a:lnSpc>
        <a:spcBef>
          <a:spcPts val="0"/>
        </a:spcBef>
        <a:spcAft>
          <a:spcPts val="879"/>
        </a:spcAft>
        <a:buClr>
          <a:srgbClr val="595959"/>
        </a:buClr>
        <a:buFont typeface="Arial" panose="020B0604020202020204" pitchFamily="34" charset="0"/>
        <a:buChar char="​"/>
        <a:defRPr lang="en-US" sz="2345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1pPr>
      <a:lvl2pPr marL="44673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2pPr>
      <a:lvl3pPr marL="89346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3pPr>
      <a:lvl4pPr marL="134019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4pPr>
      <a:lvl5pPr marL="1786920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5pPr>
      <a:lvl6pPr marL="223365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6pPr>
      <a:lvl7pPr marL="268038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7pPr>
      <a:lvl8pPr marL="312711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8pPr>
      <a:lvl9pPr marL="3573841" algn="l" defTabSz="893460" rtl="0" eaLnBrk="1" latinLnBrk="0" hangingPunct="1">
        <a:defRPr sz="175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92.xml"/><Relationship Id="rId7" Type="http://schemas.openxmlformats.org/officeDocument/2006/relationships/image" Target="../media/image2.emf"/><Relationship Id="rId2" Type="http://schemas.openxmlformats.org/officeDocument/2006/relationships/tags" Target="../tags/tag691.xml"/><Relationship Id="rId1" Type="http://schemas.openxmlformats.org/officeDocument/2006/relationships/vmlDrawing" Target="../drawings/vmlDrawing305.vml"/><Relationship Id="rId6" Type="http://schemas.openxmlformats.org/officeDocument/2006/relationships/oleObject" Target="../embeddings/oleObject30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tags" Target="../tags/tag699.xml"/><Relationship Id="rId7" Type="http://schemas.openxmlformats.org/officeDocument/2006/relationships/image" Target="../media/image5.png"/><Relationship Id="rId12" Type="http://schemas.microsoft.com/office/2007/relationships/diagramDrawing" Target="../diagrams/drawing3.xml"/><Relationship Id="rId2" Type="http://schemas.openxmlformats.org/officeDocument/2006/relationships/tags" Target="../tags/tag698.xml"/><Relationship Id="rId1" Type="http://schemas.openxmlformats.org/officeDocument/2006/relationships/vmlDrawing" Target="../drawings/vmlDrawing309.vml"/><Relationship Id="rId6" Type="http://schemas.openxmlformats.org/officeDocument/2006/relationships/image" Target="../media/image13.emf"/><Relationship Id="rId11" Type="http://schemas.openxmlformats.org/officeDocument/2006/relationships/diagramColors" Target="../diagrams/colors3.xml"/><Relationship Id="rId5" Type="http://schemas.openxmlformats.org/officeDocument/2006/relationships/oleObject" Target="../embeddings/oleObject307.bin"/><Relationship Id="rId10" Type="http://schemas.openxmlformats.org/officeDocument/2006/relationships/diagramQuickStyle" Target="../diagrams/quickStyle3.xml"/><Relationship Id="rId4" Type="http://schemas.openxmlformats.org/officeDocument/2006/relationships/slideLayout" Target="../slideLayouts/slideLayout29.xml"/><Relationship Id="rId9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701.xml"/><Relationship Id="rId7" Type="http://schemas.openxmlformats.org/officeDocument/2006/relationships/image" Target="../media/image5.png"/><Relationship Id="rId2" Type="http://schemas.openxmlformats.org/officeDocument/2006/relationships/tags" Target="../tags/tag700.xml"/><Relationship Id="rId1" Type="http://schemas.openxmlformats.org/officeDocument/2006/relationships/vmlDrawing" Target="../drawings/vmlDrawing31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07.bin"/><Relationship Id="rId4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tags" Target="../tags/tag703.xml"/><Relationship Id="rId7" Type="http://schemas.openxmlformats.org/officeDocument/2006/relationships/image" Target="../media/image5.png"/><Relationship Id="rId12" Type="http://schemas.microsoft.com/office/2007/relationships/diagramDrawing" Target="../diagrams/drawing4.xml"/><Relationship Id="rId2" Type="http://schemas.openxmlformats.org/officeDocument/2006/relationships/tags" Target="../tags/tag702.xml"/><Relationship Id="rId1" Type="http://schemas.openxmlformats.org/officeDocument/2006/relationships/vmlDrawing" Target="../drawings/vmlDrawing311.vml"/><Relationship Id="rId6" Type="http://schemas.openxmlformats.org/officeDocument/2006/relationships/image" Target="../media/image13.emf"/><Relationship Id="rId11" Type="http://schemas.openxmlformats.org/officeDocument/2006/relationships/diagramColors" Target="../diagrams/colors4.xml"/><Relationship Id="rId5" Type="http://schemas.openxmlformats.org/officeDocument/2006/relationships/oleObject" Target="../embeddings/oleObject307.bin"/><Relationship Id="rId10" Type="http://schemas.openxmlformats.org/officeDocument/2006/relationships/diagramQuickStyle" Target="../diagrams/quickStyle4.xml"/><Relationship Id="rId4" Type="http://schemas.openxmlformats.org/officeDocument/2006/relationships/slideLayout" Target="../slideLayouts/slideLayout29.xml"/><Relationship Id="rId9" Type="http://schemas.openxmlformats.org/officeDocument/2006/relationships/diagramLayout" Target="../diagrams/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tags" Target="../tags/tag705.xml"/><Relationship Id="rId7" Type="http://schemas.openxmlformats.org/officeDocument/2006/relationships/image" Target="../media/image5.png"/><Relationship Id="rId12" Type="http://schemas.microsoft.com/office/2007/relationships/diagramDrawing" Target="../diagrams/drawing5.xml"/><Relationship Id="rId2" Type="http://schemas.openxmlformats.org/officeDocument/2006/relationships/tags" Target="../tags/tag704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13.emf"/><Relationship Id="rId11" Type="http://schemas.openxmlformats.org/officeDocument/2006/relationships/diagramColors" Target="../diagrams/colors5.xml"/><Relationship Id="rId5" Type="http://schemas.openxmlformats.org/officeDocument/2006/relationships/oleObject" Target="../embeddings/oleObject307.bin"/><Relationship Id="rId10" Type="http://schemas.openxmlformats.org/officeDocument/2006/relationships/diagramQuickStyle" Target="../diagrams/quickStyle5.xml"/><Relationship Id="rId4" Type="http://schemas.openxmlformats.org/officeDocument/2006/relationships/slideLayout" Target="../slideLayouts/slideLayout29.xml"/><Relationship Id="rId9" Type="http://schemas.openxmlformats.org/officeDocument/2006/relationships/diagramLayout" Target="../diagrams/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tags" Target="../tags/tag707.xml"/><Relationship Id="rId7" Type="http://schemas.openxmlformats.org/officeDocument/2006/relationships/image" Target="../media/image5.png"/><Relationship Id="rId12" Type="http://schemas.microsoft.com/office/2007/relationships/diagramDrawing" Target="../diagrams/drawing6.xml"/><Relationship Id="rId2" Type="http://schemas.openxmlformats.org/officeDocument/2006/relationships/tags" Target="../tags/tag706.xml"/><Relationship Id="rId1" Type="http://schemas.openxmlformats.org/officeDocument/2006/relationships/vmlDrawing" Target="../drawings/vmlDrawing313.vml"/><Relationship Id="rId6" Type="http://schemas.openxmlformats.org/officeDocument/2006/relationships/image" Target="../media/image13.emf"/><Relationship Id="rId11" Type="http://schemas.openxmlformats.org/officeDocument/2006/relationships/diagramColors" Target="../diagrams/colors6.xml"/><Relationship Id="rId5" Type="http://schemas.openxmlformats.org/officeDocument/2006/relationships/oleObject" Target="../embeddings/oleObject307.bin"/><Relationship Id="rId10" Type="http://schemas.openxmlformats.org/officeDocument/2006/relationships/diagramQuickStyle" Target="../diagrams/quickStyle6.xml"/><Relationship Id="rId4" Type="http://schemas.openxmlformats.org/officeDocument/2006/relationships/slideLayout" Target="../slideLayouts/slideLayout29.xml"/><Relationship Id="rId9" Type="http://schemas.openxmlformats.org/officeDocument/2006/relationships/diagramLayout" Target="../diagrams/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image" Target="../media/image25.png"/><Relationship Id="rId3" Type="http://schemas.openxmlformats.org/officeDocument/2006/relationships/tags" Target="../tags/tag709.xml"/><Relationship Id="rId7" Type="http://schemas.openxmlformats.org/officeDocument/2006/relationships/image" Target="../media/image5.png"/><Relationship Id="rId12" Type="http://schemas.microsoft.com/office/2007/relationships/diagramDrawing" Target="../diagrams/drawing7.xml"/><Relationship Id="rId2" Type="http://schemas.openxmlformats.org/officeDocument/2006/relationships/tags" Target="../tags/tag708.xml"/><Relationship Id="rId1" Type="http://schemas.openxmlformats.org/officeDocument/2006/relationships/vmlDrawing" Target="../drawings/vmlDrawing314.vml"/><Relationship Id="rId6" Type="http://schemas.openxmlformats.org/officeDocument/2006/relationships/image" Target="../media/image13.emf"/><Relationship Id="rId11" Type="http://schemas.openxmlformats.org/officeDocument/2006/relationships/diagramColors" Target="../diagrams/colors7.xml"/><Relationship Id="rId5" Type="http://schemas.openxmlformats.org/officeDocument/2006/relationships/oleObject" Target="../embeddings/oleObject308.bin"/><Relationship Id="rId10" Type="http://schemas.openxmlformats.org/officeDocument/2006/relationships/diagramQuickStyle" Target="../diagrams/quickStyle7.xml"/><Relationship Id="rId4" Type="http://schemas.openxmlformats.org/officeDocument/2006/relationships/slideLayout" Target="../slideLayouts/slideLayout29.xml"/><Relationship Id="rId9" Type="http://schemas.openxmlformats.org/officeDocument/2006/relationships/diagramLayout" Target="../diagrams/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support@crpt.ru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693.xml"/><Relationship Id="rId1" Type="http://schemas.openxmlformats.org/officeDocument/2006/relationships/vmlDrawing" Target="../drawings/vmlDrawing30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06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tags" Target="../tags/tag695.xml"/><Relationship Id="rId7" Type="http://schemas.openxmlformats.org/officeDocument/2006/relationships/image" Target="../media/image5.png"/><Relationship Id="rId12" Type="http://schemas.microsoft.com/office/2007/relationships/diagramDrawing" Target="../diagrams/drawing1.xml"/><Relationship Id="rId2" Type="http://schemas.openxmlformats.org/officeDocument/2006/relationships/tags" Target="../tags/tag694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13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307.bin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29.xml"/><Relationship Id="rId9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tags" Target="../tags/tag697.xml"/><Relationship Id="rId7" Type="http://schemas.openxmlformats.org/officeDocument/2006/relationships/image" Target="../media/image5.png"/><Relationship Id="rId12" Type="http://schemas.microsoft.com/office/2007/relationships/diagramDrawing" Target="../diagrams/drawing2.xml"/><Relationship Id="rId2" Type="http://schemas.openxmlformats.org/officeDocument/2006/relationships/tags" Target="../tags/tag696.xml"/><Relationship Id="rId1" Type="http://schemas.openxmlformats.org/officeDocument/2006/relationships/vmlDrawing" Target="../drawings/vmlDrawing308.vml"/><Relationship Id="rId6" Type="http://schemas.openxmlformats.org/officeDocument/2006/relationships/image" Target="../media/image13.emf"/><Relationship Id="rId11" Type="http://schemas.openxmlformats.org/officeDocument/2006/relationships/diagramColors" Target="../diagrams/colors2.xml"/><Relationship Id="rId5" Type="http://schemas.openxmlformats.org/officeDocument/2006/relationships/oleObject" Target="../embeddings/oleObject307.bin"/><Relationship Id="rId10" Type="http://schemas.openxmlformats.org/officeDocument/2006/relationships/diagramQuickStyle" Target="../diagrams/quickStyle2.xml"/><Relationship Id="rId4" Type="http://schemas.openxmlformats.org/officeDocument/2006/relationships/slideLayout" Target="../slideLayouts/slideLayout29.xml"/><Relationship Id="rId9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6937720"/>
              </p:ext>
            </p:extLst>
          </p:nvPr>
        </p:nvGraphicFramePr>
        <p:xfrm>
          <a:off x="1552" y="10283"/>
          <a:ext cx="1551" cy="15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52" y="10283"/>
                        <a:ext cx="1551" cy="15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D9D4EB3-68AC-4A54-9A5C-DB42922F2F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540318" y="1299209"/>
            <a:ext cx="7864441" cy="3816488"/>
          </a:xfrm>
        </p:spPr>
        <p:txBody>
          <a:bodyPr anchor="ctr"/>
          <a:lstStyle/>
          <a:p>
            <a:pPr>
              <a:spcBef>
                <a:spcPts val="2400"/>
              </a:spcBef>
            </a:pPr>
            <a:r>
              <a:rPr lang="ru-RU" sz="3600" dirty="0"/>
              <a:t>Эксперимент по маркировке лекарственных препаратов</a:t>
            </a:r>
            <a:br>
              <a:rPr lang="ru-RU" sz="3600" dirty="0"/>
            </a:br>
            <a:r>
              <a:rPr lang="ru-RU" sz="2000" dirty="0"/>
              <a:t>Текущий статус и промежуточные итоги</a:t>
            </a:r>
            <a:br>
              <a:rPr lang="ru-RU" sz="3600" dirty="0"/>
            </a:br>
            <a:br>
              <a:rPr lang="ru-RU" sz="3600" dirty="0"/>
            </a:br>
            <a:r>
              <a:rPr lang="ru-RU" sz="2000" b="0" dirty="0"/>
              <a:t>Антон Харитонов. Руководитель направления «ФАРМА»</a:t>
            </a:r>
            <a:br>
              <a:rPr lang="ru-RU" sz="2000" b="0" dirty="0"/>
            </a:br>
            <a:r>
              <a:rPr lang="ru-RU" sz="2000" b="0" dirty="0"/>
              <a:t>Анатолий Свечин. Менеджер проекта</a:t>
            </a:r>
            <a:br>
              <a:rPr lang="ru-RU" sz="2000" b="0" dirty="0"/>
            </a:br>
            <a:br>
              <a:rPr lang="ru-RU" sz="3200" dirty="0"/>
            </a:br>
            <a:r>
              <a:rPr lang="en-US" sz="2000" b="0" dirty="0"/>
              <a:t>19</a:t>
            </a:r>
            <a:r>
              <a:rPr lang="ru-RU" sz="2000" b="0" dirty="0"/>
              <a:t>.04.2019</a:t>
            </a:r>
            <a:endParaRPr lang="ru-RU" sz="2400" b="0" dirty="0"/>
          </a:p>
        </p:txBody>
      </p:sp>
    </p:spTree>
    <p:extLst>
      <p:ext uri="{BB962C8B-B14F-4D97-AF65-F5344CB8AC3E}">
        <p14:creationId xmlns:p14="http://schemas.microsoft.com/office/powerpoint/2010/main" val="14131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1" y="10283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2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1" y="10283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731"/>
            <a:ext cx="155112" cy="155112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61" y="410956"/>
            <a:ext cx="9921834" cy="324769"/>
          </a:xfrm>
        </p:spPr>
        <p:txBody>
          <a:bodyPr/>
          <a:lstStyle/>
          <a:p>
            <a:r>
              <a:rPr lang="ru-RU" b="1" dirty="0"/>
              <a:t>Где и как?</a:t>
            </a:r>
            <a:r>
              <a:rPr lang="ru-RU" dirty="0"/>
              <a:t> Выбытие по типам участников оборота - упрощенно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106435" y="108898"/>
            <a:ext cx="714447" cy="91997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1225230B-2BB4-4FBC-AC8C-AE0D73C728C7}"/>
              </a:ext>
            </a:extLst>
          </p:cNvPr>
          <p:cNvGraphicFramePr/>
          <p:nvPr>
            <p:extLst/>
          </p:nvPr>
        </p:nvGraphicFramePr>
        <p:xfrm>
          <a:off x="228848" y="1159608"/>
          <a:ext cx="11454905" cy="55805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349427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1" y="10283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3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1" y="10283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731"/>
            <a:ext cx="155112" cy="155112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61" y="360755"/>
            <a:ext cx="9921834" cy="324782"/>
          </a:xfrm>
        </p:spPr>
        <p:txBody>
          <a:bodyPr/>
          <a:lstStyle/>
          <a:p>
            <a:r>
              <a:rPr lang="ru-RU" dirty="0"/>
              <a:t>Схема информационного обмена с МДЛП через ККТ и РВ 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106435" y="108898"/>
            <a:ext cx="714447" cy="91997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FDA34333-D0D2-4C07-9762-9F2AEEB737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08571" y="1239984"/>
            <a:ext cx="9295459" cy="5469585"/>
          </a:xfrm>
          <a:prstGeom prst="rect">
            <a:avLst/>
          </a:prstGeom>
        </p:spPr>
      </p:pic>
      <p:sp>
        <p:nvSpPr>
          <p:cNvPr id="5" name="Стрелка: изогнутая вправо 4">
            <a:extLst>
              <a:ext uri="{FF2B5EF4-FFF2-40B4-BE49-F238E27FC236}">
                <a16:creationId xmlns:a16="http://schemas.microsoft.com/office/drawing/2014/main" id="{3EBE1C51-DEC3-48CB-A6E4-313A14C9C97E}"/>
              </a:ext>
            </a:extLst>
          </p:cNvPr>
          <p:cNvSpPr/>
          <p:nvPr/>
        </p:nvSpPr>
        <p:spPr>
          <a:xfrm rot="5400000">
            <a:off x="3544481" y="3516199"/>
            <a:ext cx="1649691" cy="1734532"/>
          </a:xfrm>
          <a:prstGeom prst="curvedRightArrow">
            <a:avLst/>
          </a:prstGeom>
          <a:solidFill>
            <a:srgbClr val="EFEB2E">
              <a:alpha val="41176"/>
            </a:srgbClr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39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1" y="10283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0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1" y="10283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731"/>
            <a:ext cx="155112" cy="155112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61" y="410949"/>
            <a:ext cx="9921834" cy="324782"/>
          </a:xfrm>
        </p:spPr>
        <p:txBody>
          <a:bodyPr/>
          <a:lstStyle/>
          <a:p>
            <a:r>
              <a:rPr lang="ru-RU" dirty="0"/>
              <a:t>Изменения в порядке записи чеков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106435" y="108898"/>
            <a:ext cx="714447" cy="91997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1225230B-2BB4-4FBC-AC8C-AE0D73C72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1321990"/>
              </p:ext>
            </p:extLst>
          </p:nvPr>
        </p:nvGraphicFramePr>
        <p:xfrm>
          <a:off x="228848" y="1426345"/>
          <a:ext cx="11454905" cy="48810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20042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1" y="10283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9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1" y="10283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731"/>
            <a:ext cx="155112" cy="155112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61" y="410949"/>
            <a:ext cx="9921834" cy="324782"/>
          </a:xfrm>
        </p:spPr>
        <p:txBody>
          <a:bodyPr/>
          <a:lstStyle/>
          <a:p>
            <a:r>
              <a:rPr lang="ru-RU" dirty="0"/>
              <a:t>Встраивание РВ в процессы </a:t>
            </a:r>
            <a:r>
              <a:rPr lang="ru-RU" dirty="0" err="1"/>
              <a:t>медорганизаций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106435" y="108898"/>
            <a:ext cx="714447" cy="91997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1225230B-2BB4-4FBC-AC8C-AE0D73C72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800397"/>
              </p:ext>
            </p:extLst>
          </p:nvPr>
        </p:nvGraphicFramePr>
        <p:xfrm>
          <a:off x="228848" y="1426345"/>
          <a:ext cx="11454905" cy="48810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630267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1" y="10283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49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1" y="10283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731"/>
            <a:ext cx="155112" cy="155112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61" y="410949"/>
            <a:ext cx="9921834" cy="324782"/>
          </a:xfrm>
        </p:spPr>
        <p:txBody>
          <a:bodyPr/>
          <a:lstStyle/>
          <a:p>
            <a:r>
              <a:rPr lang="ru-RU" dirty="0"/>
              <a:t>Регистрация в ИС МДЛП – нельзя откладывать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106435" y="108898"/>
            <a:ext cx="714447" cy="91997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1225230B-2BB4-4FBC-AC8C-AE0D73C72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88824960"/>
              </p:ext>
            </p:extLst>
          </p:nvPr>
        </p:nvGraphicFramePr>
        <p:xfrm>
          <a:off x="228848" y="1565360"/>
          <a:ext cx="11454905" cy="47419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73978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0D048FD8-2E90-4A76-A1E8-2184D642E9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1" y="10283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57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0D048FD8-2E90-4A76-A1E8-2184D642E9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1" y="10283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3FD10373-A0D4-46BA-8CB5-FA04332740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731"/>
            <a:ext cx="155112" cy="155112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561" y="410949"/>
            <a:ext cx="10490874" cy="324782"/>
          </a:xfrm>
        </p:spPr>
        <p:txBody>
          <a:bodyPr/>
          <a:lstStyle/>
          <a:p>
            <a:r>
              <a:rPr lang="ru-RU" dirty="0">
                <a:latin typeface="+mj-lt"/>
              </a:rPr>
              <a:t>Дополнительная информация</a:t>
            </a:r>
            <a:endParaRPr lang="en-US" dirty="0">
              <a:latin typeface="+mj-lt"/>
            </a:endParaRPr>
          </a:p>
        </p:txBody>
      </p:sp>
      <p:pic>
        <p:nvPicPr>
          <p:cNvPr id="43" name="Picture 42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106435" y="108898"/>
            <a:ext cx="714447" cy="91997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16" name="Схема 15">
            <a:extLst>
              <a:ext uri="{FF2B5EF4-FFF2-40B4-BE49-F238E27FC236}">
                <a16:creationId xmlns:a16="http://schemas.microsoft.com/office/drawing/2014/main" id="{54256C94-F7FB-4F75-9968-AF85A2A0EF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1438915"/>
              </p:ext>
            </p:extLst>
          </p:nvPr>
        </p:nvGraphicFramePr>
        <p:xfrm>
          <a:off x="271844" y="1330928"/>
          <a:ext cx="10933208" cy="4976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E3839FB-BAE0-4859-916C-6474DBC8C02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60796" y="3143426"/>
            <a:ext cx="5825489" cy="346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146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CB98716-D26D-4A75-9EB8-93721267B026}"/>
              </a:ext>
            </a:extLst>
          </p:cNvPr>
          <p:cNvSpPr/>
          <p:nvPr/>
        </p:nvSpPr>
        <p:spPr>
          <a:xfrm>
            <a:off x="2182090" y="1413328"/>
            <a:ext cx="8184127" cy="38916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2" tIns="45601" rIns="91202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1"/>
            <a:r>
              <a:rPr lang="ru-RU" sz="4800" b="1" dirty="0"/>
              <a:t>Спасибо!</a:t>
            </a:r>
          </a:p>
          <a:p>
            <a:pPr algn="ctr" hangingPunct="1"/>
            <a:endParaRPr lang="ru-RU" sz="3600" b="1" dirty="0"/>
          </a:p>
          <a:p>
            <a:pPr algn="ctr" hangingPunct="1"/>
            <a:r>
              <a:rPr lang="ru-RU" sz="2400" b="1" dirty="0"/>
              <a:t>Вопросы просьба отправлять по адресу</a:t>
            </a:r>
            <a:r>
              <a:rPr lang="ru-RU" sz="3200" b="1" dirty="0"/>
              <a:t> </a:t>
            </a:r>
            <a:r>
              <a:rPr lang="en-US" sz="3200" b="1" dirty="0">
                <a:solidFill>
                  <a:schemeClr val="accent5">
                    <a:lumMod val="20000"/>
                    <a:lumOff val="8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r>
              <a:rPr lang="en-US" sz="3200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 </a:t>
            </a:r>
          </a:p>
          <a:p>
            <a:pPr algn="ctr" hangingPunct="1"/>
            <a:r>
              <a:rPr lang="ru-RU" sz="2400" b="1" dirty="0">
                <a:solidFill>
                  <a:schemeClr val="bg1"/>
                </a:solidFill>
              </a:rPr>
              <a:t>тел.</a:t>
            </a:r>
            <a:r>
              <a:rPr lang="ru-RU" sz="3200" b="1" dirty="0">
                <a:solidFill>
                  <a:schemeClr val="bg1"/>
                </a:solidFill>
              </a:rPr>
              <a:t> </a:t>
            </a:r>
            <a:r>
              <a:rPr lang="ru-RU" sz="3200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8 (800) 222 1523</a:t>
            </a:r>
            <a:endParaRPr lang="ru-RU" sz="3600" b="1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1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Title 1"/>
          <p:cNvSpPr txBox="1">
            <a:spLocks noGrp="1"/>
          </p:cNvSpPr>
          <p:nvPr>
            <p:ph type="title"/>
          </p:nvPr>
        </p:nvSpPr>
        <p:spPr>
          <a:xfrm>
            <a:off x="615561" y="451122"/>
            <a:ext cx="10271216" cy="322717"/>
          </a:xfrm>
          <a:prstGeom prst="rect">
            <a:avLst/>
          </a:prstGeom>
        </p:spPr>
        <p:txBody>
          <a:bodyPr/>
          <a:lstStyle>
            <a:lvl1pPr defTabSz="822958">
              <a:defRPr sz="2100"/>
            </a:lvl1pPr>
          </a:lstStyle>
          <a:p>
            <a:r>
              <a:rPr lang="ru-RU" sz="2330" dirty="0"/>
              <a:t>Нормативная база в РФ</a:t>
            </a:r>
            <a:endParaRPr sz="2330" dirty="0"/>
          </a:p>
        </p:txBody>
      </p:sp>
      <p:pic>
        <p:nvPicPr>
          <p:cNvPr id="766" name="Picture 45" descr="Picture 45"/>
          <p:cNvPicPr>
            <a:picLocks noChangeAspect="1"/>
          </p:cNvPicPr>
          <p:nvPr/>
        </p:nvPicPr>
        <p:blipFill>
          <a:blip r:embed="rId2">
            <a:extLst/>
          </a:blip>
          <a:srcRect t="571" r="73" b="32603"/>
          <a:stretch>
            <a:fillRect/>
          </a:stretch>
        </p:blipFill>
        <p:spPr>
          <a:xfrm>
            <a:off x="11106842" y="108898"/>
            <a:ext cx="713904" cy="9198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1" y="0"/>
                  <a:pt x="33" y="1228"/>
                  <a:pt x="0" y="2750"/>
                </a:cubicBezTo>
                <a:lnTo>
                  <a:pt x="0" y="18850"/>
                </a:lnTo>
                <a:cubicBezTo>
                  <a:pt x="33" y="20372"/>
                  <a:pt x="1621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9"/>
                  <a:pt x="21600" y="18804"/>
                </a:cubicBezTo>
                <a:lnTo>
                  <a:pt x="21600" y="2796"/>
                </a:lnTo>
                <a:cubicBezTo>
                  <a:pt x="21600" y="1251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366A300-10C3-49BB-93EC-F190ABA76DBB}"/>
              </a:ext>
            </a:extLst>
          </p:cNvPr>
          <p:cNvSpPr/>
          <p:nvPr/>
        </p:nvSpPr>
        <p:spPr>
          <a:xfrm>
            <a:off x="442950" y="1571744"/>
            <a:ext cx="11211162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>
                <a:solidFill>
                  <a:srgbClr val="585858"/>
                </a:solidFill>
              </a:defRPr>
            </a:pPr>
            <a:r>
              <a:rPr lang="ru-RU" sz="1800" b="1" dirty="0"/>
              <a:t>Федеральный закон РФ «Об обращении лекарственных средств» 61-ФЗ с изменениями 425-ФЗ (28.12.2017) </a:t>
            </a:r>
            <a:r>
              <a:rPr lang="ru-RU" sz="1800" dirty="0"/>
              <a:t>определяет обязательную маркировку лекарственных препаратов средствами идентификации формата </a:t>
            </a:r>
            <a:r>
              <a:rPr lang="en-US" sz="1800" dirty="0" err="1"/>
              <a:t>Datamatrix</a:t>
            </a:r>
            <a:r>
              <a:rPr lang="en-US" sz="1800" dirty="0"/>
              <a:t> </a:t>
            </a:r>
            <a:r>
              <a:rPr lang="ru-RU" sz="1800" dirty="0"/>
              <a:t>начиная с 01.2020 года</a:t>
            </a:r>
          </a:p>
          <a:p>
            <a:pPr>
              <a:spcAft>
                <a:spcPts val="1200"/>
              </a:spcAft>
              <a:defRPr>
                <a:solidFill>
                  <a:srgbClr val="585858"/>
                </a:solidFill>
              </a:defRPr>
            </a:pPr>
            <a:r>
              <a:rPr lang="ru-RU" sz="1800" b="1" dirty="0"/>
              <a:t>Постановление Правительства РФ</a:t>
            </a:r>
            <a:r>
              <a:rPr lang="ru-RU" sz="1800" dirty="0"/>
              <a:t> </a:t>
            </a:r>
            <a:r>
              <a:rPr lang="ru-RU" sz="1800" b="1" dirty="0"/>
              <a:t>от 28 августа 2018 № 1018 </a:t>
            </a:r>
            <a:r>
              <a:rPr lang="ru-RU" sz="1800" dirty="0"/>
              <a:t>продлевает эксперимент до 31.12.2019 г., а оператором ИС МДЛП определяет ООО «Оператор-ЦРПТ».</a:t>
            </a:r>
          </a:p>
          <a:p>
            <a:pPr>
              <a:spcAft>
                <a:spcPts val="1200"/>
              </a:spcAft>
              <a:defRPr>
                <a:solidFill>
                  <a:srgbClr val="585858"/>
                </a:solidFill>
              </a:defRPr>
            </a:pPr>
            <a:r>
              <a:rPr lang="ru-RU" sz="1800" b="1" dirty="0"/>
              <a:t>Распоряжение правительства РФ от 18.12.2018 №2828-р </a:t>
            </a:r>
            <a:r>
              <a:rPr lang="ru-RU" sz="1800" dirty="0"/>
              <a:t>определяет ООО «Оператор-ЦРПТ» организацией, уполномоченной на осуществление функций оператора ИС МДЛП</a:t>
            </a:r>
            <a:endParaRPr lang="ru-RU" sz="1800" b="1" dirty="0"/>
          </a:p>
          <a:p>
            <a:pPr>
              <a:spcAft>
                <a:spcPts val="1200"/>
              </a:spcAft>
              <a:defRPr>
                <a:solidFill>
                  <a:srgbClr val="585858"/>
                </a:solidFill>
              </a:defRPr>
            </a:pPr>
            <a:r>
              <a:rPr lang="ru-RU" sz="1800" b="1" dirty="0"/>
              <a:t>Постановление правительства от 14.12.2018 №1556 </a:t>
            </a:r>
            <a:r>
              <a:rPr lang="ru-RU" sz="1800" dirty="0"/>
              <a:t>определяет состав и структуру кода маркировки и основные положения системы мониторинга лекарственных препаратов</a:t>
            </a:r>
          </a:p>
          <a:p>
            <a:pPr>
              <a:spcAft>
                <a:spcPts val="1200"/>
              </a:spcAft>
              <a:defRPr>
                <a:solidFill>
                  <a:srgbClr val="585858"/>
                </a:solidFill>
              </a:defRPr>
            </a:pPr>
            <a:r>
              <a:rPr lang="ru-RU" sz="1800" b="1" dirty="0"/>
              <a:t>Постановление правительства от 14.12.2018 №1557 </a:t>
            </a:r>
            <a:r>
              <a:rPr lang="ru-RU" sz="1800" dirty="0"/>
              <a:t>определяет особенности внедрения ИС МДЛП для отдельных видов лекарственных препаратов</a:t>
            </a:r>
            <a:endParaRPr lang="ru-RU" sz="1800" b="1" dirty="0"/>
          </a:p>
          <a:p>
            <a:pPr>
              <a:spcAft>
                <a:spcPts val="1200"/>
              </a:spcAft>
              <a:defRPr>
                <a:solidFill>
                  <a:srgbClr val="585858"/>
                </a:solidFill>
              </a:defRPr>
            </a:pPr>
            <a:r>
              <a:rPr lang="ru-RU" sz="1800" b="1" dirty="0"/>
              <a:t>Постановление правительства от 14.12.2018 №1558 </a:t>
            </a:r>
            <a:r>
              <a:rPr lang="ru-RU" sz="1800" dirty="0"/>
              <a:t>определяет требования к информации, содержащейся в ИС МДЛП и размещаемой в качестве открытой информации</a:t>
            </a:r>
            <a:endParaRPr lang="ru-RU" sz="1800" b="1" dirty="0"/>
          </a:p>
        </p:txBody>
      </p:sp>
    </p:spTree>
    <p:extLst>
      <p:ext uri="{BB962C8B-B14F-4D97-AF65-F5344CB8AC3E}">
        <p14:creationId xmlns:p14="http://schemas.microsoft.com/office/powerpoint/2010/main" val="60193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ight Arrow 99">
            <a:extLst>
              <a:ext uri="{FF2B5EF4-FFF2-40B4-BE49-F238E27FC236}">
                <a16:creationId xmlns:a16="http://schemas.microsoft.com/office/drawing/2014/main" id="{76B5CCB0-0BC6-44A2-B7CC-B2EB535572F7}"/>
              </a:ext>
            </a:extLst>
          </p:cNvPr>
          <p:cNvSpPr/>
          <p:nvPr/>
        </p:nvSpPr>
        <p:spPr>
          <a:xfrm>
            <a:off x="269532" y="4819101"/>
            <a:ext cx="11313978" cy="346480"/>
          </a:xfrm>
          <a:prstGeom prst="rightArrow">
            <a:avLst>
              <a:gd name="adj1" fmla="val 50000"/>
              <a:gd name="adj2" fmla="val 85051"/>
            </a:avLst>
          </a:prstGeom>
          <a:gradFill flip="none" rotWithShape="1">
            <a:gsLst>
              <a:gs pos="29000">
                <a:schemeClr val="accent1">
                  <a:lumMod val="0"/>
                  <a:lumOff val="100000"/>
                </a:schemeClr>
              </a:gs>
              <a:gs pos="68000">
                <a:srgbClr val="FFFF00"/>
              </a:gs>
              <a:gs pos="92000">
                <a:schemeClr val="accent1">
                  <a:lumMod val="30000"/>
                  <a:lumOff val="70000"/>
                </a:schemeClr>
              </a:gs>
            </a:gsLst>
            <a:lin ang="0" scaled="1"/>
            <a:tileRect/>
          </a:gradFill>
          <a:ln w="9525" cap="rnd" cmpd="sng" algn="ctr">
            <a:solidFill>
              <a:srgbClr val="36629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89A0E5A5-BED8-4E85-8873-2D74D3D0AF7C}"/>
              </a:ext>
            </a:extLst>
          </p:cNvPr>
          <p:cNvGrpSpPr/>
          <p:nvPr/>
        </p:nvGrpSpPr>
        <p:grpSpPr>
          <a:xfrm>
            <a:off x="3161112" y="1634390"/>
            <a:ext cx="1792733" cy="3248649"/>
            <a:chOff x="4462540" y="1638132"/>
            <a:chExt cx="1792733" cy="3248649"/>
          </a:xfrm>
        </p:grpSpPr>
        <p:cxnSp>
          <p:nvCxnSpPr>
            <p:cNvPr id="62" name="Straight Connector 128">
              <a:extLst>
                <a:ext uri="{FF2B5EF4-FFF2-40B4-BE49-F238E27FC236}">
                  <a16:creationId xmlns:a16="http://schemas.microsoft.com/office/drawing/2014/main" id="{F47484D5-54D4-4A00-85B4-FD52543C9414}"/>
                </a:ext>
              </a:extLst>
            </p:cNvPr>
            <p:cNvCxnSpPr>
              <a:cxnSpLocks/>
            </p:cNvCxnSpPr>
            <p:nvPr/>
          </p:nvCxnSpPr>
          <p:spPr>
            <a:xfrm>
              <a:off x="4462540" y="1640721"/>
              <a:ext cx="0" cy="3246060"/>
            </a:xfrm>
            <a:prstGeom prst="line">
              <a:avLst/>
            </a:prstGeom>
            <a:noFill/>
            <a:ln w="9525" cap="rnd" cmpd="sng" algn="ctr">
              <a:solidFill>
                <a:srgbClr val="366292"/>
              </a:solidFill>
              <a:prstDash val="solid"/>
              <a:round/>
              <a:headEnd type="none" w="med" len="med"/>
              <a:tailEnd type="oval" w="med" len="med"/>
            </a:ln>
            <a:effectLst/>
          </p:spPr>
        </p:cxn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503F1A1E-4FE0-4693-BB3F-1A2B215980EB}"/>
                </a:ext>
              </a:extLst>
            </p:cNvPr>
            <p:cNvSpPr/>
            <p:nvPr/>
          </p:nvSpPr>
          <p:spPr>
            <a:xfrm>
              <a:off x="4497059" y="1638132"/>
              <a:ext cx="1758214" cy="483004"/>
            </a:xfrm>
            <a:prstGeom prst="rect">
              <a:avLst/>
            </a:prstGeom>
            <a:solidFill>
              <a:srgbClr val="F4B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err="1">
                  <a:solidFill>
                    <a:srgbClr val="37373A"/>
                  </a:solidFill>
                </a:rPr>
                <a:t>Постановлене</a:t>
              </a:r>
              <a:r>
                <a:rPr lang="ru-RU" sz="1200" b="1" dirty="0">
                  <a:solidFill>
                    <a:srgbClr val="37373A"/>
                  </a:solidFill>
                </a:rPr>
                <a:t> 1556</a:t>
              </a:r>
              <a:endParaRPr lang="en-US" sz="1200" b="1" dirty="0">
                <a:solidFill>
                  <a:srgbClr val="37373A"/>
                </a:solidFill>
              </a:endParaRPr>
            </a:p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Положение МДЛП</a:t>
              </a: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id="{7F2D222A-B374-4E16-8B6B-7FEAC53A33D6}"/>
                </a:ext>
              </a:extLst>
            </p:cNvPr>
            <p:cNvSpPr/>
            <p:nvPr/>
          </p:nvSpPr>
          <p:spPr>
            <a:xfrm>
              <a:off x="4510234" y="2685460"/>
              <a:ext cx="1744264" cy="483004"/>
            </a:xfrm>
            <a:prstGeom prst="rect">
              <a:avLst/>
            </a:prstGeom>
            <a:solidFill>
              <a:srgbClr val="F4B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Постановление</a:t>
              </a:r>
              <a:r>
                <a:rPr lang="en-US" sz="1200" b="1" dirty="0">
                  <a:solidFill>
                    <a:srgbClr val="37373A"/>
                  </a:solidFill>
                </a:rPr>
                <a:t> </a:t>
              </a:r>
              <a:r>
                <a:rPr lang="ru-RU" sz="1200" b="1" dirty="0">
                  <a:solidFill>
                    <a:srgbClr val="37373A"/>
                  </a:solidFill>
                </a:rPr>
                <a:t>1558</a:t>
              </a:r>
              <a:endParaRPr lang="en-US" sz="1200" b="1" dirty="0">
                <a:solidFill>
                  <a:srgbClr val="37373A"/>
                </a:solidFill>
              </a:endParaRPr>
            </a:p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Открытые данные</a:t>
              </a:r>
            </a:p>
          </p:txBody>
        </p:sp>
        <p:sp>
          <p:nvSpPr>
            <p:cNvPr id="105" name="Прямоугольник 104">
              <a:extLst>
                <a:ext uri="{FF2B5EF4-FFF2-40B4-BE49-F238E27FC236}">
                  <a16:creationId xmlns:a16="http://schemas.microsoft.com/office/drawing/2014/main" id="{8AB90266-E61D-44FF-BAFE-6D4BAD1BE588}"/>
                </a:ext>
              </a:extLst>
            </p:cNvPr>
            <p:cNvSpPr/>
            <p:nvPr/>
          </p:nvSpPr>
          <p:spPr>
            <a:xfrm>
              <a:off x="4510234" y="2161796"/>
              <a:ext cx="1745039" cy="483004"/>
            </a:xfrm>
            <a:prstGeom prst="rect">
              <a:avLst/>
            </a:prstGeom>
            <a:solidFill>
              <a:srgbClr val="F4B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Постановление 1557</a:t>
              </a:r>
              <a:endParaRPr lang="en-US" sz="1200" b="1" dirty="0">
                <a:solidFill>
                  <a:srgbClr val="37373A"/>
                </a:solidFill>
              </a:endParaRPr>
            </a:p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ВЗН</a:t>
              </a:r>
            </a:p>
          </p:txBody>
        </p:sp>
      </p:grp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7BA84565-1DBD-4565-93C8-A612E94C7A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59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7BA84565-1DBD-4565-93C8-A612E94C7A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83" name="Заголовок 1"/>
          <p:cNvSpPr txBox="1">
            <a:spLocks noGrp="1"/>
          </p:cNvSpPr>
          <p:nvPr>
            <p:ph type="title"/>
          </p:nvPr>
        </p:nvSpPr>
        <p:spPr>
          <a:xfrm>
            <a:off x="615563" y="417880"/>
            <a:ext cx="10433375" cy="322396"/>
          </a:xfrm>
          <a:prstGeom prst="rect">
            <a:avLst/>
          </a:prstGeom>
        </p:spPr>
        <p:txBody>
          <a:bodyPr/>
          <a:lstStyle>
            <a:lvl1pPr defTabSz="839852">
              <a:defRPr sz="2162"/>
            </a:lvl1pPr>
          </a:lstStyle>
          <a:p>
            <a:pPr defTabSz="886968"/>
            <a:r>
              <a:rPr lang="ru-RU" sz="2328" dirty="0"/>
              <a:t>Дорожная карта внедрения обязательной маркировки ЛП</a:t>
            </a:r>
          </a:p>
        </p:txBody>
      </p:sp>
      <p:sp>
        <p:nvSpPr>
          <p:cNvPr id="19" name="Rectangle 147">
            <a:extLst>
              <a:ext uri="{FF2B5EF4-FFF2-40B4-BE49-F238E27FC236}">
                <a16:creationId xmlns:a16="http://schemas.microsoft.com/office/drawing/2014/main" id="{EABC0578-3F68-4A3F-97F7-8BD8015957D0}"/>
              </a:ext>
            </a:extLst>
          </p:cNvPr>
          <p:cNvSpPr/>
          <p:nvPr/>
        </p:nvSpPr>
        <p:spPr>
          <a:xfrm>
            <a:off x="-6666" y="5128214"/>
            <a:ext cx="1241262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1D1D1D"/>
                </a:solidFill>
                <a:latin typeface="Trebuchet MS"/>
                <a:ea typeface="+mn-ea"/>
                <a:cs typeface="+mn-cs"/>
              </a:rPr>
              <a:t>befor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04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18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20" name="Straight Connector 148">
            <a:extLst>
              <a:ext uri="{FF2B5EF4-FFF2-40B4-BE49-F238E27FC236}">
                <a16:creationId xmlns:a16="http://schemas.microsoft.com/office/drawing/2014/main" id="{24B090F4-20A3-40B1-90B7-7FAC812BF59D}"/>
              </a:ext>
            </a:extLst>
          </p:cNvPr>
          <p:cNvCxnSpPr>
            <a:cxnSpLocks/>
          </p:cNvCxnSpPr>
          <p:nvPr/>
        </p:nvCxnSpPr>
        <p:spPr>
          <a:xfrm>
            <a:off x="329090" y="1169598"/>
            <a:ext cx="49212" cy="3717183"/>
          </a:xfrm>
          <a:prstGeom prst="line">
            <a:avLst/>
          </a:prstGeom>
          <a:noFill/>
          <a:ln w="9525" cap="rnd" cmpd="sng" algn="ctr">
            <a:solidFill>
              <a:srgbClr val="366292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27" name="Rectangle 122">
            <a:extLst>
              <a:ext uri="{FF2B5EF4-FFF2-40B4-BE49-F238E27FC236}">
                <a16:creationId xmlns:a16="http://schemas.microsoft.com/office/drawing/2014/main" id="{DBD9AE0D-4599-4991-A4FE-B5138338FBD0}"/>
              </a:ext>
            </a:extLst>
          </p:cNvPr>
          <p:cNvSpPr/>
          <p:nvPr/>
        </p:nvSpPr>
        <p:spPr>
          <a:xfrm>
            <a:off x="705057" y="5451139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1D1D1D"/>
                </a:solidFill>
                <a:latin typeface="Trebuchet MS"/>
              </a:rPr>
              <a:t>28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0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1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DB6DED5-13F6-4C2C-A501-23AA4EE776C0}"/>
              </a:ext>
            </a:extLst>
          </p:cNvPr>
          <p:cNvGrpSpPr/>
          <p:nvPr/>
        </p:nvGrpSpPr>
        <p:grpSpPr>
          <a:xfrm>
            <a:off x="689846" y="2337334"/>
            <a:ext cx="2362998" cy="2550594"/>
            <a:chOff x="1261531" y="2336187"/>
            <a:chExt cx="2362998" cy="2550594"/>
          </a:xfrm>
        </p:grpSpPr>
        <p:cxnSp>
          <p:nvCxnSpPr>
            <p:cNvPr id="28" name="Straight Connector 128">
              <a:extLst>
                <a:ext uri="{FF2B5EF4-FFF2-40B4-BE49-F238E27FC236}">
                  <a16:creationId xmlns:a16="http://schemas.microsoft.com/office/drawing/2014/main" id="{673CEC95-52EB-469B-B637-D8A5BC7FD7FB}"/>
                </a:ext>
              </a:extLst>
            </p:cNvPr>
            <p:cNvCxnSpPr>
              <a:cxnSpLocks/>
            </p:cNvCxnSpPr>
            <p:nvPr/>
          </p:nvCxnSpPr>
          <p:spPr>
            <a:xfrm>
              <a:off x="1261531" y="2336187"/>
              <a:ext cx="0" cy="2550594"/>
            </a:xfrm>
            <a:prstGeom prst="line">
              <a:avLst/>
            </a:prstGeom>
            <a:noFill/>
            <a:ln w="9525" cap="rnd" cmpd="sng" algn="ctr">
              <a:solidFill>
                <a:srgbClr val="366292"/>
              </a:solidFill>
              <a:prstDash val="solid"/>
              <a:round/>
              <a:headEnd type="none" w="med" len="med"/>
              <a:tailEnd type="oval" w="med" len="med"/>
            </a:ln>
            <a:effectLst/>
          </p:spPr>
        </p:cxn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56B8B8E2-8CEE-4DEB-9CCD-114119A65FD3}"/>
                </a:ext>
              </a:extLst>
            </p:cNvPr>
            <p:cNvSpPr/>
            <p:nvPr/>
          </p:nvSpPr>
          <p:spPr>
            <a:xfrm>
              <a:off x="1298255" y="2336187"/>
              <a:ext cx="2326274" cy="475582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Распоряжение </a:t>
              </a:r>
              <a:r>
                <a:rPr lang="en-US" sz="1200" b="1" dirty="0">
                  <a:solidFill>
                    <a:srgbClr val="37373A"/>
                  </a:solidFill>
                </a:rPr>
                <a:t> </a:t>
              </a:r>
              <a:r>
                <a:rPr lang="ru-RU" sz="1200" b="1" dirty="0">
                  <a:solidFill>
                    <a:srgbClr val="37373A"/>
                  </a:solidFill>
                </a:rPr>
                <a:t>№</a:t>
              </a:r>
              <a:r>
                <a:rPr lang="en-US" sz="1200" b="1" dirty="0">
                  <a:solidFill>
                    <a:srgbClr val="37373A"/>
                  </a:solidFill>
                </a:rPr>
                <a:t>791-</a:t>
              </a:r>
              <a:r>
                <a:rPr lang="ru-RU" sz="1200" b="1" dirty="0">
                  <a:solidFill>
                    <a:srgbClr val="37373A"/>
                  </a:solidFill>
                </a:rPr>
                <a:t>Р</a:t>
              </a:r>
              <a:endParaRPr lang="en-US" sz="1200" b="1" dirty="0">
                <a:solidFill>
                  <a:srgbClr val="37373A"/>
                </a:solidFill>
              </a:endParaRPr>
            </a:p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Модель функционирования</a:t>
              </a:r>
            </a:p>
          </p:txBody>
        </p:sp>
      </p:grpSp>
      <p:sp>
        <p:nvSpPr>
          <p:cNvPr id="30" name="Rectangle 122">
            <a:extLst>
              <a:ext uri="{FF2B5EF4-FFF2-40B4-BE49-F238E27FC236}">
                <a16:creationId xmlns:a16="http://schemas.microsoft.com/office/drawing/2014/main" id="{E0B2CE1E-F6F1-462D-8091-613BDFEB51E6}"/>
              </a:ext>
            </a:extLst>
          </p:cNvPr>
          <p:cNvSpPr/>
          <p:nvPr/>
        </p:nvSpPr>
        <p:spPr>
          <a:xfrm>
            <a:off x="409327" y="5326940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1D1D1D"/>
                </a:solidFill>
                <a:latin typeface="Trebuchet MS"/>
              </a:rPr>
              <a:t>27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04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18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FFD22407-2B76-4013-A645-981A76129387}"/>
              </a:ext>
            </a:extLst>
          </p:cNvPr>
          <p:cNvGrpSpPr/>
          <p:nvPr/>
        </p:nvGrpSpPr>
        <p:grpSpPr>
          <a:xfrm>
            <a:off x="1566824" y="3469622"/>
            <a:ext cx="3386246" cy="1416685"/>
            <a:chOff x="3349158" y="3470096"/>
            <a:chExt cx="3386246" cy="1416685"/>
          </a:xfrm>
        </p:grpSpPr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1194CFC8-29DE-413D-AF5A-9E025FCDF8E6}"/>
                </a:ext>
              </a:extLst>
            </p:cNvPr>
            <p:cNvSpPr/>
            <p:nvPr/>
          </p:nvSpPr>
          <p:spPr>
            <a:xfrm>
              <a:off x="3397876" y="3479750"/>
              <a:ext cx="3337528" cy="53201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Передача функций оператора </a:t>
              </a:r>
            </a:p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из ФНС в ЦРПТ</a:t>
              </a:r>
            </a:p>
          </p:txBody>
        </p:sp>
        <p:cxnSp>
          <p:nvCxnSpPr>
            <p:cNvPr id="39" name="Straight Connector 128">
              <a:extLst>
                <a:ext uri="{FF2B5EF4-FFF2-40B4-BE49-F238E27FC236}">
                  <a16:creationId xmlns:a16="http://schemas.microsoft.com/office/drawing/2014/main" id="{C2D85A71-57CC-4D14-BFD8-A954E1EEB662}"/>
                </a:ext>
              </a:extLst>
            </p:cNvPr>
            <p:cNvCxnSpPr>
              <a:cxnSpLocks/>
            </p:cNvCxnSpPr>
            <p:nvPr/>
          </p:nvCxnSpPr>
          <p:spPr>
            <a:xfrm>
              <a:off x="3349158" y="3470096"/>
              <a:ext cx="6588" cy="1416685"/>
            </a:xfrm>
            <a:prstGeom prst="line">
              <a:avLst/>
            </a:prstGeom>
            <a:noFill/>
            <a:ln w="9525" cap="rnd" cmpd="sng" algn="ctr">
              <a:solidFill>
                <a:srgbClr val="366292"/>
              </a:solidFill>
              <a:prstDash val="solid"/>
              <a:round/>
              <a:headEnd type="none" w="med" len="med"/>
              <a:tailEnd type="oval" w="med" len="med"/>
            </a:ln>
            <a:effectLst/>
          </p:spPr>
        </p:cxnSp>
      </p:grp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DD28BF24-2542-477F-AA60-8845E656A762}"/>
              </a:ext>
            </a:extLst>
          </p:cNvPr>
          <p:cNvSpPr/>
          <p:nvPr/>
        </p:nvSpPr>
        <p:spPr>
          <a:xfrm>
            <a:off x="371755" y="1169598"/>
            <a:ext cx="2674687" cy="3780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37373A"/>
                </a:solidFill>
              </a:rPr>
              <a:t>Об обороте лекарственных средств 61-ФЗ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4963B9BB-F564-4DFE-8312-CCB6D84B5AC2}"/>
              </a:ext>
            </a:extLst>
          </p:cNvPr>
          <p:cNvSpPr/>
          <p:nvPr/>
        </p:nvSpPr>
        <p:spPr>
          <a:xfrm>
            <a:off x="384849" y="1620012"/>
            <a:ext cx="2661593" cy="28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37373A"/>
                </a:solidFill>
              </a:rPr>
              <a:t>425-ФЗ (изменения 61-ФЗ)</a:t>
            </a:r>
          </a:p>
        </p:txBody>
      </p:sp>
      <p:sp>
        <p:nvSpPr>
          <p:cNvPr id="54" name="Rectangle 122">
            <a:extLst>
              <a:ext uri="{FF2B5EF4-FFF2-40B4-BE49-F238E27FC236}">
                <a16:creationId xmlns:a16="http://schemas.microsoft.com/office/drawing/2014/main" id="{D61E2D63-D60A-4B23-A971-44A13A9704B5}"/>
              </a:ext>
            </a:extLst>
          </p:cNvPr>
          <p:cNvSpPr/>
          <p:nvPr/>
        </p:nvSpPr>
        <p:spPr>
          <a:xfrm>
            <a:off x="1248886" y="5124817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01.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1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1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</a:t>
            </a:r>
          </a:p>
        </p:txBody>
      </p:sp>
      <p:sp>
        <p:nvSpPr>
          <p:cNvPr id="64" name="Rectangle 122">
            <a:extLst>
              <a:ext uri="{FF2B5EF4-FFF2-40B4-BE49-F238E27FC236}">
                <a16:creationId xmlns:a16="http://schemas.microsoft.com/office/drawing/2014/main" id="{52C3A45A-7A98-44BE-9881-3AFE01EE7E4A}"/>
              </a:ext>
            </a:extLst>
          </p:cNvPr>
          <p:cNvSpPr/>
          <p:nvPr/>
        </p:nvSpPr>
        <p:spPr>
          <a:xfrm>
            <a:off x="10651069" y="4704382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01.01.20</a:t>
            </a:r>
            <a:endParaRPr kumimoji="0" lang="en-US" sz="1000" b="0" i="0" u="none" strike="noStrike" kern="0" cap="none" spc="0" normalizeH="0" baseline="0" noProof="0" dirty="0" err="1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6155BEB7-25B9-4166-AC31-481C7B4D7A86}"/>
              </a:ext>
            </a:extLst>
          </p:cNvPr>
          <p:cNvGrpSpPr/>
          <p:nvPr/>
        </p:nvGrpSpPr>
        <p:grpSpPr>
          <a:xfrm>
            <a:off x="1039309" y="2868808"/>
            <a:ext cx="1993480" cy="2020960"/>
            <a:chOff x="2162049" y="2865821"/>
            <a:chExt cx="1993480" cy="2020960"/>
          </a:xfrm>
        </p:grpSpPr>
        <p:cxnSp>
          <p:nvCxnSpPr>
            <p:cNvPr id="50" name="Straight Connector 128">
              <a:extLst>
                <a:ext uri="{FF2B5EF4-FFF2-40B4-BE49-F238E27FC236}">
                  <a16:creationId xmlns:a16="http://schemas.microsoft.com/office/drawing/2014/main" id="{578043E1-C219-4A23-9C52-547A939A51A4}"/>
                </a:ext>
              </a:extLst>
            </p:cNvPr>
            <p:cNvCxnSpPr>
              <a:cxnSpLocks/>
            </p:cNvCxnSpPr>
            <p:nvPr/>
          </p:nvCxnSpPr>
          <p:spPr>
            <a:xfrm>
              <a:off x="2162049" y="2865821"/>
              <a:ext cx="3860" cy="2020960"/>
            </a:xfrm>
            <a:prstGeom prst="line">
              <a:avLst/>
            </a:prstGeom>
            <a:noFill/>
            <a:ln w="9525" cap="rnd" cmpd="sng" algn="ctr">
              <a:solidFill>
                <a:srgbClr val="366292"/>
              </a:solidFill>
              <a:prstDash val="solid"/>
              <a:round/>
              <a:headEnd type="none" w="med" len="med"/>
              <a:tailEnd type="oval" w="med" len="med"/>
            </a:ln>
            <a:effectLst/>
          </p:spPr>
        </p:cxn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4DEEBACE-5E8B-4B69-B4B0-51719AB1D74A}"/>
                </a:ext>
              </a:extLst>
            </p:cNvPr>
            <p:cNvSpPr/>
            <p:nvPr/>
          </p:nvSpPr>
          <p:spPr>
            <a:xfrm>
              <a:off x="2197691" y="2868811"/>
              <a:ext cx="1957838" cy="43661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Постановление №</a:t>
              </a:r>
              <a:r>
                <a:rPr lang="en-US" sz="1200" b="1" dirty="0">
                  <a:solidFill>
                    <a:srgbClr val="37373A"/>
                  </a:solidFill>
                </a:rPr>
                <a:t>1018</a:t>
              </a:r>
              <a:r>
                <a:rPr lang="ru-RU" sz="1200" b="1" dirty="0">
                  <a:solidFill>
                    <a:srgbClr val="37373A"/>
                  </a:solidFill>
                </a:rPr>
                <a:t> </a:t>
              </a:r>
              <a:r>
                <a:rPr lang="en-US" sz="1200" b="1" dirty="0">
                  <a:solidFill>
                    <a:srgbClr val="37373A"/>
                  </a:solidFill>
                </a:rPr>
                <a:t>28.08.18</a:t>
              </a:r>
              <a:r>
                <a:rPr lang="ru-RU" sz="1200" b="1" dirty="0">
                  <a:solidFill>
                    <a:srgbClr val="37373A"/>
                  </a:solidFill>
                </a:rPr>
                <a:t> Оператор</a:t>
              </a:r>
            </a:p>
          </p:txBody>
        </p:sp>
      </p:grp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33206A0D-C8C1-4A46-9E8F-76A2B1949010}"/>
              </a:ext>
            </a:extLst>
          </p:cNvPr>
          <p:cNvSpPr/>
          <p:nvPr/>
        </p:nvSpPr>
        <p:spPr>
          <a:xfrm>
            <a:off x="378303" y="1978673"/>
            <a:ext cx="2668140" cy="28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37373A"/>
                </a:solidFill>
              </a:rPr>
              <a:t>Постановление №</a:t>
            </a:r>
            <a:r>
              <a:rPr lang="en-US" sz="1200" b="1" dirty="0">
                <a:solidFill>
                  <a:srgbClr val="37373A"/>
                </a:solidFill>
              </a:rPr>
              <a:t>62</a:t>
            </a:r>
            <a:r>
              <a:rPr lang="ru-RU" sz="1200" b="1" dirty="0">
                <a:solidFill>
                  <a:srgbClr val="37373A"/>
                </a:solidFill>
              </a:rPr>
              <a:t> </a:t>
            </a:r>
            <a:r>
              <a:rPr lang="en-US" sz="1200" b="1" dirty="0">
                <a:solidFill>
                  <a:srgbClr val="37373A"/>
                </a:solidFill>
              </a:rPr>
              <a:t>(24.01.17)</a:t>
            </a:r>
            <a:endParaRPr lang="ru-RU" sz="1200" b="1" dirty="0">
              <a:solidFill>
                <a:srgbClr val="37373A"/>
              </a:solidFill>
            </a:endParaRPr>
          </a:p>
        </p:txBody>
      </p:sp>
      <p:sp>
        <p:nvSpPr>
          <p:cNvPr id="101" name="Стрелка: вниз 100">
            <a:extLst>
              <a:ext uri="{FF2B5EF4-FFF2-40B4-BE49-F238E27FC236}">
                <a16:creationId xmlns:a16="http://schemas.microsoft.com/office/drawing/2014/main" id="{02FFC0D2-969C-41B0-BFA2-0D29D0F14EA9}"/>
              </a:ext>
            </a:extLst>
          </p:cNvPr>
          <p:cNvSpPr/>
          <p:nvPr/>
        </p:nvSpPr>
        <p:spPr>
          <a:xfrm>
            <a:off x="3428083" y="4252219"/>
            <a:ext cx="391383" cy="614249"/>
          </a:xfrm>
          <a:prstGeom prst="downArrow">
            <a:avLst/>
          </a:prstGeom>
          <a:solidFill>
            <a:srgbClr val="FF0000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</a:endParaRPr>
          </a:p>
        </p:txBody>
      </p:sp>
      <p:cxnSp>
        <p:nvCxnSpPr>
          <p:cNvPr id="106" name="Straight Connector 128">
            <a:extLst>
              <a:ext uri="{FF2B5EF4-FFF2-40B4-BE49-F238E27FC236}">
                <a16:creationId xmlns:a16="http://schemas.microsoft.com/office/drawing/2014/main" id="{9567AE6E-273B-4452-85E1-CCEC100438C8}"/>
              </a:ext>
            </a:extLst>
          </p:cNvPr>
          <p:cNvCxnSpPr>
            <a:cxnSpLocks/>
          </p:cNvCxnSpPr>
          <p:nvPr/>
        </p:nvCxnSpPr>
        <p:spPr>
          <a:xfrm flipV="1">
            <a:off x="10984340" y="4906030"/>
            <a:ext cx="7711" cy="1394390"/>
          </a:xfrm>
          <a:prstGeom prst="line">
            <a:avLst/>
          </a:prstGeom>
          <a:noFill/>
          <a:ln w="9525" cap="rnd" cmpd="sng" algn="ctr">
            <a:solidFill>
              <a:srgbClr val="366292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46289D19-DED3-4276-B879-B5F8F3741DFE}"/>
              </a:ext>
            </a:extLst>
          </p:cNvPr>
          <p:cNvSpPr/>
          <p:nvPr/>
        </p:nvSpPr>
        <p:spPr>
          <a:xfrm>
            <a:off x="8671786" y="5933917"/>
            <a:ext cx="2300456" cy="36650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37373A"/>
                </a:solidFill>
              </a:rPr>
              <a:t>Обязательная маркировка 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7D1358C3-5C36-4150-873D-4AE48A530F6A}"/>
              </a:ext>
            </a:extLst>
          </p:cNvPr>
          <p:cNvGrpSpPr/>
          <p:nvPr/>
        </p:nvGrpSpPr>
        <p:grpSpPr>
          <a:xfrm>
            <a:off x="6862958" y="2919000"/>
            <a:ext cx="2079203" cy="1967781"/>
            <a:chOff x="8538894" y="2926739"/>
            <a:chExt cx="2079203" cy="1967781"/>
          </a:xfrm>
        </p:grpSpPr>
        <p:sp>
          <p:nvSpPr>
            <p:cNvPr id="109" name="Прямоугольник 108">
              <a:extLst>
                <a:ext uri="{FF2B5EF4-FFF2-40B4-BE49-F238E27FC236}">
                  <a16:creationId xmlns:a16="http://schemas.microsoft.com/office/drawing/2014/main" id="{D96981E6-C289-45D8-92EA-78E55C643C89}"/>
                </a:ext>
              </a:extLst>
            </p:cNvPr>
            <p:cNvSpPr/>
            <p:nvPr/>
          </p:nvSpPr>
          <p:spPr>
            <a:xfrm>
              <a:off x="8598424" y="2926739"/>
              <a:ext cx="2019673" cy="49513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Обязательная маркировка ВЗН</a:t>
              </a:r>
            </a:p>
          </p:txBody>
        </p:sp>
        <p:cxnSp>
          <p:nvCxnSpPr>
            <p:cNvPr id="110" name="Straight Connector 128">
              <a:extLst>
                <a:ext uri="{FF2B5EF4-FFF2-40B4-BE49-F238E27FC236}">
                  <a16:creationId xmlns:a16="http://schemas.microsoft.com/office/drawing/2014/main" id="{81F25E47-516A-47BD-B6BC-E633C146B1F5}"/>
                </a:ext>
              </a:extLst>
            </p:cNvPr>
            <p:cNvCxnSpPr>
              <a:cxnSpLocks/>
            </p:cNvCxnSpPr>
            <p:nvPr/>
          </p:nvCxnSpPr>
          <p:spPr>
            <a:xfrm>
              <a:off x="8538894" y="2937948"/>
              <a:ext cx="1" cy="1956572"/>
            </a:xfrm>
            <a:prstGeom prst="line">
              <a:avLst/>
            </a:prstGeom>
            <a:noFill/>
            <a:ln w="9525" cap="rnd" cmpd="sng" algn="ctr">
              <a:solidFill>
                <a:srgbClr val="366292"/>
              </a:solidFill>
              <a:prstDash val="solid"/>
              <a:round/>
              <a:headEnd type="none" w="med" len="med"/>
              <a:tailEnd type="oval" w="med" len="med"/>
            </a:ln>
            <a:effectLst/>
          </p:spPr>
        </p:cxnSp>
      </p:grpSp>
      <p:sp>
        <p:nvSpPr>
          <p:cNvPr id="114" name="Rectangle 122">
            <a:extLst>
              <a:ext uri="{FF2B5EF4-FFF2-40B4-BE49-F238E27FC236}">
                <a16:creationId xmlns:a16="http://schemas.microsoft.com/office/drawing/2014/main" id="{5352B8AF-6D62-4EC3-B77E-2342ADBE893F}"/>
              </a:ext>
            </a:extLst>
          </p:cNvPr>
          <p:cNvSpPr/>
          <p:nvPr/>
        </p:nvSpPr>
        <p:spPr>
          <a:xfrm>
            <a:off x="6126547" y="5120631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01.10.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9</a:t>
            </a:r>
          </a:p>
        </p:txBody>
      </p:sp>
      <p:sp>
        <p:nvSpPr>
          <p:cNvPr id="33" name="Rectangle 122">
            <a:extLst>
              <a:ext uri="{FF2B5EF4-FFF2-40B4-BE49-F238E27FC236}">
                <a16:creationId xmlns:a16="http://schemas.microsoft.com/office/drawing/2014/main" id="{5CA30D4F-57B5-4131-92C5-022C9A98946C}"/>
              </a:ext>
            </a:extLst>
          </p:cNvPr>
          <p:cNvSpPr/>
          <p:nvPr/>
        </p:nvSpPr>
        <p:spPr>
          <a:xfrm>
            <a:off x="4913842" y="5126107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08.07.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9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EC2B5E8B-DB5B-4911-8D70-E705604B779B}"/>
              </a:ext>
            </a:extLst>
          </p:cNvPr>
          <p:cNvGrpSpPr/>
          <p:nvPr/>
        </p:nvGrpSpPr>
        <p:grpSpPr>
          <a:xfrm>
            <a:off x="5250812" y="1634390"/>
            <a:ext cx="3691349" cy="3274367"/>
            <a:chOff x="7013354" y="1612414"/>
            <a:chExt cx="3691349" cy="3274367"/>
          </a:xfrm>
        </p:grpSpPr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51951774-1D35-467E-82A1-2697B7B47176}"/>
                </a:ext>
              </a:extLst>
            </p:cNvPr>
            <p:cNvSpPr/>
            <p:nvPr/>
          </p:nvSpPr>
          <p:spPr>
            <a:xfrm>
              <a:off x="7074869" y="1612414"/>
              <a:ext cx="3629834" cy="46926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Все участники программы ВЗН зарегистрированы в ИС МДЛП</a:t>
              </a:r>
            </a:p>
          </p:txBody>
        </p:sp>
        <p:cxnSp>
          <p:nvCxnSpPr>
            <p:cNvPr id="35" name="Straight Connector 128">
              <a:extLst>
                <a:ext uri="{FF2B5EF4-FFF2-40B4-BE49-F238E27FC236}">
                  <a16:creationId xmlns:a16="http://schemas.microsoft.com/office/drawing/2014/main" id="{CC01EB4D-DB4E-49D5-A112-3CCDBCE4D574}"/>
                </a:ext>
              </a:extLst>
            </p:cNvPr>
            <p:cNvCxnSpPr>
              <a:cxnSpLocks/>
            </p:cNvCxnSpPr>
            <p:nvPr/>
          </p:nvCxnSpPr>
          <p:spPr>
            <a:xfrm>
              <a:off x="7013354" y="1620012"/>
              <a:ext cx="13949" cy="3266769"/>
            </a:xfrm>
            <a:prstGeom prst="line">
              <a:avLst/>
            </a:prstGeom>
            <a:noFill/>
            <a:ln w="9525" cap="rnd" cmpd="sng" algn="ctr">
              <a:solidFill>
                <a:srgbClr val="366292"/>
              </a:solidFill>
              <a:prstDash val="solid"/>
              <a:round/>
              <a:headEnd type="none" w="med" len="med"/>
              <a:tailEnd type="oval" w="med" len="med"/>
            </a:ln>
            <a:effectLst/>
          </p:spPr>
        </p:cxn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981F4D02-1AD3-4CDC-8A10-916C16D6831A}"/>
              </a:ext>
            </a:extLst>
          </p:cNvPr>
          <p:cNvGrpSpPr/>
          <p:nvPr/>
        </p:nvGrpSpPr>
        <p:grpSpPr>
          <a:xfrm>
            <a:off x="7482784" y="3527925"/>
            <a:ext cx="3509264" cy="1369824"/>
            <a:chOff x="7482784" y="3527925"/>
            <a:chExt cx="3509264" cy="1369824"/>
          </a:xfrm>
        </p:grpSpPr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A5730E26-F819-4AEF-B917-E9500725AE79}"/>
                </a:ext>
              </a:extLst>
            </p:cNvPr>
            <p:cNvSpPr/>
            <p:nvPr/>
          </p:nvSpPr>
          <p:spPr>
            <a:xfrm>
              <a:off x="7537913" y="3527975"/>
              <a:ext cx="3454135" cy="40732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Все участники оборота зарегистрированы </a:t>
              </a:r>
            </a:p>
          </p:txBody>
        </p:sp>
        <p:cxnSp>
          <p:nvCxnSpPr>
            <p:cNvPr id="42" name="Straight Connector 128">
              <a:extLst>
                <a:ext uri="{FF2B5EF4-FFF2-40B4-BE49-F238E27FC236}">
                  <a16:creationId xmlns:a16="http://schemas.microsoft.com/office/drawing/2014/main" id="{F0A47CF7-A66D-41E6-A413-C4E2014EB9C9}"/>
                </a:ext>
              </a:extLst>
            </p:cNvPr>
            <p:cNvCxnSpPr>
              <a:cxnSpLocks/>
            </p:cNvCxnSpPr>
            <p:nvPr/>
          </p:nvCxnSpPr>
          <p:spPr>
            <a:xfrm>
              <a:off x="7482784" y="3527925"/>
              <a:ext cx="0" cy="1369824"/>
            </a:xfrm>
            <a:prstGeom prst="line">
              <a:avLst/>
            </a:prstGeom>
            <a:noFill/>
            <a:ln w="9525" cap="rnd" cmpd="sng" algn="ctr">
              <a:solidFill>
                <a:srgbClr val="366292"/>
              </a:solidFill>
              <a:prstDash val="solid"/>
              <a:round/>
              <a:headEnd type="none" w="med" len="med"/>
              <a:tailEnd type="oval" w="med" len="med"/>
            </a:ln>
            <a:effectLst/>
          </p:spPr>
        </p:cxnSp>
      </p:grpSp>
      <p:sp>
        <p:nvSpPr>
          <p:cNvPr id="43" name="Rectangle 122">
            <a:extLst>
              <a:ext uri="{FF2B5EF4-FFF2-40B4-BE49-F238E27FC236}">
                <a16:creationId xmlns:a16="http://schemas.microsoft.com/office/drawing/2014/main" id="{4D8ADF05-61F9-4116-B940-F906C6878CEA}"/>
              </a:ext>
            </a:extLst>
          </p:cNvPr>
          <p:cNvSpPr/>
          <p:nvPr/>
        </p:nvSpPr>
        <p:spPr>
          <a:xfrm>
            <a:off x="7134478" y="5125896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01.11.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9</a:t>
            </a:r>
          </a:p>
        </p:txBody>
      </p:sp>
      <p:sp>
        <p:nvSpPr>
          <p:cNvPr id="61" name="Rectangle 122">
            <a:extLst>
              <a:ext uri="{FF2B5EF4-FFF2-40B4-BE49-F238E27FC236}">
                <a16:creationId xmlns:a16="http://schemas.microsoft.com/office/drawing/2014/main" id="{AA4F6752-C5F0-4460-9C2C-56D9CF8DC355}"/>
              </a:ext>
            </a:extLst>
          </p:cNvPr>
          <p:cNvSpPr/>
          <p:nvPr/>
        </p:nvSpPr>
        <p:spPr>
          <a:xfrm>
            <a:off x="2819112" y="5136740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rgbClr val="1D1D1D"/>
                </a:solidFill>
                <a:latin typeface="Trebuchet MS"/>
                <a:ea typeface="+mn-ea"/>
                <a:cs typeface="+mn-cs"/>
              </a:rPr>
              <a:t>14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.1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8</a:t>
            </a: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25F74C89-E4B7-4B24-84AE-7AF133477C47}"/>
              </a:ext>
            </a:extLst>
          </p:cNvPr>
          <p:cNvGrpSpPr/>
          <p:nvPr/>
        </p:nvGrpSpPr>
        <p:grpSpPr>
          <a:xfrm>
            <a:off x="6172041" y="2233823"/>
            <a:ext cx="2770118" cy="2643321"/>
            <a:chOff x="8527774" y="2251199"/>
            <a:chExt cx="2770118" cy="2643321"/>
          </a:xfrm>
        </p:grpSpPr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DA227B03-1641-47A7-A3E5-B3617F328E0F}"/>
                </a:ext>
              </a:extLst>
            </p:cNvPr>
            <p:cNvSpPr/>
            <p:nvPr/>
          </p:nvSpPr>
          <p:spPr>
            <a:xfrm>
              <a:off x="8584738" y="2258885"/>
              <a:ext cx="2713154" cy="49513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Все производители ВЗН оснащены оборудованием</a:t>
              </a:r>
            </a:p>
          </p:txBody>
        </p:sp>
        <p:cxnSp>
          <p:nvCxnSpPr>
            <p:cNvPr id="48" name="Straight Connector 128">
              <a:extLst>
                <a:ext uri="{FF2B5EF4-FFF2-40B4-BE49-F238E27FC236}">
                  <a16:creationId xmlns:a16="http://schemas.microsoft.com/office/drawing/2014/main" id="{F5FF64EB-7C6B-47F8-B686-65B3D928AB7D}"/>
                </a:ext>
              </a:extLst>
            </p:cNvPr>
            <p:cNvCxnSpPr>
              <a:cxnSpLocks/>
            </p:cNvCxnSpPr>
            <p:nvPr/>
          </p:nvCxnSpPr>
          <p:spPr>
            <a:xfrm>
              <a:off x="8527774" y="2251199"/>
              <a:ext cx="11121" cy="2643321"/>
            </a:xfrm>
            <a:prstGeom prst="line">
              <a:avLst/>
            </a:prstGeom>
            <a:noFill/>
            <a:ln w="9525" cap="rnd" cmpd="sng" algn="ctr">
              <a:solidFill>
                <a:srgbClr val="366292"/>
              </a:solidFill>
              <a:prstDash val="solid"/>
              <a:round/>
              <a:headEnd type="none" w="med" len="med"/>
              <a:tailEnd type="oval" w="med" len="med"/>
            </a:ln>
            <a:effectLst/>
          </p:spPr>
        </p:cxnSp>
      </p:grpSp>
      <p:sp>
        <p:nvSpPr>
          <p:cNvPr id="51" name="Rectangle 122">
            <a:extLst>
              <a:ext uri="{FF2B5EF4-FFF2-40B4-BE49-F238E27FC236}">
                <a16:creationId xmlns:a16="http://schemas.microsoft.com/office/drawing/2014/main" id="{2F814121-EBA2-4DEE-9766-D2A8D59E2C90}"/>
              </a:ext>
            </a:extLst>
          </p:cNvPr>
          <p:cNvSpPr/>
          <p:nvPr/>
        </p:nvSpPr>
        <p:spPr>
          <a:xfrm>
            <a:off x="5551572" y="5128214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rgbClr val="1D1D1D"/>
                </a:solidFill>
                <a:latin typeface="Trebuchet MS"/>
                <a:ea typeface="+mn-ea"/>
                <a:cs typeface="+mn-cs"/>
              </a:rPr>
              <a:t>01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0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9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9</a:t>
            </a:r>
          </a:p>
        </p:txBody>
      </p: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6CC8D9F7-E1D9-4BCC-9802-E6D05797CE3B}"/>
              </a:ext>
            </a:extLst>
          </p:cNvPr>
          <p:cNvGrpSpPr/>
          <p:nvPr/>
        </p:nvGrpSpPr>
        <p:grpSpPr>
          <a:xfrm>
            <a:off x="8616656" y="4041085"/>
            <a:ext cx="2355586" cy="845222"/>
            <a:chOff x="7482784" y="3527925"/>
            <a:chExt cx="2355586" cy="845222"/>
          </a:xfrm>
        </p:grpSpPr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id="{09FC1DA6-3D48-47DB-9240-C68D0F23F295}"/>
                </a:ext>
              </a:extLst>
            </p:cNvPr>
            <p:cNvSpPr/>
            <p:nvPr/>
          </p:nvSpPr>
          <p:spPr>
            <a:xfrm>
              <a:off x="7537914" y="3527975"/>
              <a:ext cx="2300456" cy="40732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37373A"/>
                  </a:solidFill>
                </a:rPr>
                <a:t>Все производители оснащены</a:t>
              </a:r>
            </a:p>
          </p:txBody>
        </p:sp>
        <p:cxnSp>
          <p:nvCxnSpPr>
            <p:cNvPr id="58" name="Straight Connector 128">
              <a:extLst>
                <a:ext uri="{FF2B5EF4-FFF2-40B4-BE49-F238E27FC236}">
                  <a16:creationId xmlns:a16="http://schemas.microsoft.com/office/drawing/2014/main" id="{0ABE4553-FEAB-4596-A9EE-4212A6B0A30B}"/>
                </a:ext>
              </a:extLst>
            </p:cNvPr>
            <p:cNvCxnSpPr>
              <a:cxnSpLocks/>
            </p:cNvCxnSpPr>
            <p:nvPr/>
          </p:nvCxnSpPr>
          <p:spPr>
            <a:xfrm>
              <a:off x="7482784" y="3527925"/>
              <a:ext cx="0" cy="845222"/>
            </a:xfrm>
            <a:prstGeom prst="line">
              <a:avLst/>
            </a:prstGeom>
            <a:noFill/>
            <a:ln w="9525" cap="rnd" cmpd="sng" algn="ctr">
              <a:solidFill>
                <a:srgbClr val="366292"/>
              </a:solidFill>
              <a:prstDash val="solid"/>
              <a:round/>
              <a:headEnd type="none" w="med" len="med"/>
              <a:tailEnd type="oval" w="med" len="med"/>
            </a:ln>
            <a:effectLst/>
          </p:spPr>
        </p:cxnSp>
      </p:grpSp>
      <p:sp>
        <p:nvSpPr>
          <p:cNvPr id="60" name="Rectangle 122">
            <a:extLst>
              <a:ext uri="{FF2B5EF4-FFF2-40B4-BE49-F238E27FC236}">
                <a16:creationId xmlns:a16="http://schemas.microsoft.com/office/drawing/2014/main" id="{E68C77A5-381A-4DC9-9EDB-6BDBB99D7B5A}"/>
              </a:ext>
            </a:extLst>
          </p:cNvPr>
          <p:cNvSpPr/>
          <p:nvPr/>
        </p:nvSpPr>
        <p:spPr>
          <a:xfrm>
            <a:off x="8083576" y="5127731"/>
            <a:ext cx="684000" cy="1520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60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01.1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.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223090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dissolve/>
      </p:transition>
    </mc:Choice>
    <mc:Fallback xmlns="" xmlns:m="http://schemas.openxmlformats.org/officeDocument/2006/math" xmlns:a14="http://schemas.microsoft.com/office/drawing/2010/main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Title 1"/>
          <p:cNvSpPr txBox="1">
            <a:spLocks noGrp="1"/>
          </p:cNvSpPr>
          <p:nvPr>
            <p:ph type="title"/>
          </p:nvPr>
        </p:nvSpPr>
        <p:spPr>
          <a:xfrm>
            <a:off x="615561" y="451122"/>
            <a:ext cx="10271216" cy="322717"/>
          </a:xfrm>
          <a:prstGeom prst="rect">
            <a:avLst/>
          </a:prstGeom>
        </p:spPr>
        <p:txBody>
          <a:bodyPr/>
          <a:lstStyle>
            <a:lvl1pPr defTabSz="822958">
              <a:defRPr sz="2100"/>
            </a:lvl1pPr>
          </a:lstStyle>
          <a:p>
            <a:r>
              <a:rPr lang="ru-RU" sz="2330" dirty="0"/>
              <a:t>Система в цифрах</a:t>
            </a:r>
            <a:endParaRPr sz="2330" dirty="0"/>
          </a:p>
        </p:txBody>
      </p:sp>
      <p:pic>
        <p:nvPicPr>
          <p:cNvPr id="766" name="Picture 45" descr="Picture 45"/>
          <p:cNvPicPr>
            <a:picLocks noChangeAspect="1"/>
          </p:cNvPicPr>
          <p:nvPr/>
        </p:nvPicPr>
        <p:blipFill>
          <a:blip r:embed="rId2">
            <a:extLst/>
          </a:blip>
          <a:srcRect t="571" r="73" b="32603"/>
          <a:stretch>
            <a:fillRect/>
          </a:stretch>
        </p:blipFill>
        <p:spPr>
          <a:xfrm>
            <a:off x="11106842" y="108898"/>
            <a:ext cx="713904" cy="9198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1" y="0"/>
                  <a:pt x="33" y="1228"/>
                  <a:pt x="0" y="2750"/>
                </a:cubicBezTo>
                <a:lnTo>
                  <a:pt x="0" y="18850"/>
                </a:lnTo>
                <a:cubicBezTo>
                  <a:pt x="33" y="20372"/>
                  <a:pt x="1621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9"/>
                  <a:pt x="21600" y="18804"/>
                </a:cubicBezTo>
                <a:lnTo>
                  <a:pt x="21600" y="2796"/>
                </a:lnTo>
                <a:cubicBezTo>
                  <a:pt x="21600" y="1251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5D8354D-CAF8-4040-87A6-8F771BC333BD}"/>
              </a:ext>
            </a:extLst>
          </p:cNvPr>
          <p:cNvSpPr txBox="1"/>
          <p:nvPr/>
        </p:nvSpPr>
        <p:spPr>
          <a:xfrm>
            <a:off x="513961" y="1160949"/>
            <a:ext cx="11012199" cy="49552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endParaRPr lang="ru-RU" sz="1000" b="1" dirty="0">
              <a:solidFill>
                <a:srgbClr val="595959"/>
              </a:solidFill>
            </a:endParaRPr>
          </a:p>
          <a:p>
            <a:r>
              <a:rPr lang="ru-RU" sz="2400" b="1" dirty="0">
                <a:solidFill>
                  <a:srgbClr val="595959"/>
                </a:solidFill>
              </a:rPr>
              <a:t>Всего:</a:t>
            </a:r>
            <a:endParaRPr lang="en-US" sz="2400" b="1" dirty="0">
              <a:solidFill>
                <a:srgbClr val="595959"/>
              </a:solidFill>
            </a:endParaRPr>
          </a:p>
          <a:p>
            <a:pPr marL="630238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15704 участников оборота </a:t>
            </a:r>
          </a:p>
          <a:p>
            <a:pPr marL="630238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2385 лекарственных препарата</a:t>
            </a:r>
          </a:p>
          <a:p>
            <a:pPr marL="630238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21.4 млн маркированных упаковок</a:t>
            </a:r>
          </a:p>
          <a:p>
            <a:pPr marL="630238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Маркировку в режиме эксперимента ведут: 8 производителей (34 наименования ЛП)</a:t>
            </a:r>
            <a:endParaRPr lang="ru-RU" sz="2000" dirty="0">
              <a:solidFill>
                <a:srgbClr val="595959"/>
              </a:solidFill>
            </a:endParaRPr>
          </a:p>
          <a:p>
            <a:endParaRPr lang="ru-RU" sz="2400" b="1" dirty="0">
              <a:solidFill>
                <a:srgbClr val="595959"/>
              </a:solidFill>
            </a:endParaRPr>
          </a:p>
          <a:p>
            <a:r>
              <a:rPr lang="ru-RU" sz="2400" b="1" dirty="0">
                <a:solidFill>
                  <a:srgbClr val="595959"/>
                </a:solidFill>
              </a:rPr>
              <a:t>7ВЗН:</a:t>
            </a:r>
            <a:endParaRPr lang="en-US" sz="2400" b="1" dirty="0">
              <a:solidFill>
                <a:srgbClr val="595959"/>
              </a:solidFill>
            </a:endParaRPr>
          </a:p>
          <a:p>
            <a:pPr marL="630238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12 производителей в РФ (21 площадка) поставляют в 2019 году</a:t>
            </a:r>
          </a:p>
          <a:p>
            <a:pPr marL="990600" lvl="1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12 зарегистрировано (100%)</a:t>
            </a:r>
          </a:p>
          <a:p>
            <a:pPr marL="630238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11 производителей вне РФ (20 площадок) поставляют в 2019 году</a:t>
            </a:r>
          </a:p>
          <a:p>
            <a:pPr marL="990600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6 зарегистрировано (55%)</a:t>
            </a:r>
          </a:p>
          <a:p>
            <a:pPr marL="630238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132 лекарственных препарата</a:t>
            </a:r>
          </a:p>
          <a:p>
            <a:pPr marL="990600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40 зарегистрировано (30%)</a:t>
            </a:r>
          </a:p>
          <a:p>
            <a:pPr marL="990600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3 маркируется (2%)</a:t>
            </a:r>
          </a:p>
          <a:p>
            <a:pPr marL="630238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3595 точки отпуска </a:t>
            </a:r>
          </a:p>
          <a:p>
            <a:pPr marL="990600" indent="-34290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595959"/>
                </a:solidFill>
              </a:rPr>
              <a:t>82</a:t>
            </a:r>
            <a:r>
              <a:rPr lang="ru-RU" sz="1800" b="1" dirty="0">
                <a:solidFill>
                  <a:srgbClr val="595959"/>
                </a:solidFill>
              </a:rPr>
              <a:t> </a:t>
            </a:r>
            <a:r>
              <a:rPr lang="ru-RU" sz="1800" b="1" dirty="0">
                <a:solidFill>
                  <a:srgbClr val="FF0000"/>
                </a:solidFill>
              </a:rPr>
              <a:t>не</a:t>
            </a:r>
            <a:r>
              <a:rPr lang="ru-RU" sz="1800" b="1" dirty="0">
                <a:solidFill>
                  <a:srgbClr val="595959"/>
                </a:solidFill>
              </a:rPr>
              <a:t> </a:t>
            </a:r>
            <a:r>
              <a:rPr lang="ru-RU" sz="1800" dirty="0">
                <a:solidFill>
                  <a:srgbClr val="595959"/>
                </a:solidFill>
              </a:rPr>
              <a:t>зарегистрировано (3,2%)</a:t>
            </a:r>
          </a:p>
        </p:txBody>
      </p:sp>
    </p:spTree>
    <p:extLst>
      <p:ext uri="{BB962C8B-B14F-4D97-AF65-F5344CB8AC3E}">
        <p14:creationId xmlns:p14="http://schemas.microsoft.com/office/powerpoint/2010/main" val="56954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 xmlns:m="http://schemas.openxmlformats.org/officeDocument/2006/math" xmlns:a14="http://schemas.microsoft.com/office/drawing/2010/main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Title 1"/>
          <p:cNvSpPr txBox="1">
            <a:spLocks noGrp="1"/>
          </p:cNvSpPr>
          <p:nvPr>
            <p:ph type="title"/>
          </p:nvPr>
        </p:nvSpPr>
        <p:spPr>
          <a:xfrm>
            <a:off x="615561" y="451122"/>
            <a:ext cx="10271216" cy="322717"/>
          </a:xfrm>
          <a:prstGeom prst="rect">
            <a:avLst/>
          </a:prstGeom>
        </p:spPr>
        <p:txBody>
          <a:bodyPr/>
          <a:lstStyle>
            <a:lvl1pPr defTabSz="822958">
              <a:defRPr sz="2100"/>
            </a:lvl1pPr>
          </a:lstStyle>
          <a:p>
            <a:r>
              <a:rPr lang="ru-RU" sz="2330" dirty="0"/>
              <a:t>Кто должен регистрироваться в системе</a:t>
            </a:r>
          </a:p>
        </p:txBody>
      </p:sp>
      <p:pic>
        <p:nvPicPr>
          <p:cNvPr id="766" name="Picture 45" descr="Picture 45"/>
          <p:cNvPicPr>
            <a:picLocks noChangeAspect="1"/>
          </p:cNvPicPr>
          <p:nvPr/>
        </p:nvPicPr>
        <p:blipFill>
          <a:blip r:embed="rId2">
            <a:extLst/>
          </a:blip>
          <a:srcRect t="571" r="73" b="32603"/>
          <a:stretch>
            <a:fillRect/>
          </a:stretch>
        </p:blipFill>
        <p:spPr>
          <a:xfrm>
            <a:off x="11106842" y="108898"/>
            <a:ext cx="713904" cy="9198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1" y="0"/>
                  <a:pt x="33" y="1228"/>
                  <a:pt x="0" y="2750"/>
                </a:cubicBezTo>
                <a:lnTo>
                  <a:pt x="0" y="18850"/>
                </a:lnTo>
                <a:cubicBezTo>
                  <a:pt x="33" y="20372"/>
                  <a:pt x="1621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9"/>
                  <a:pt x="21600" y="18804"/>
                </a:cubicBezTo>
                <a:lnTo>
                  <a:pt x="21600" y="2796"/>
                </a:lnTo>
                <a:cubicBezTo>
                  <a:pt x="21600" y="1251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5D8354D-CAF8-4040-87A6-8F771BC333BD}"/>
              </a:ext>
            </a:extLst>
          </p:cNvPr>
          <p:cNvSpPr txBox="1"/>
          <p:nvPr/>
        </p:nvSpPr>
        <p:spPr>
          <a:xfrm>
            <a:off x="553267" y="1555349"/>
            <a:ext cx="11012199" cy="48936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630238" lvl="2" indent="-365125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95959"/>
                </a:solidFill>
              </a:rPr>
              <a:t>Все производители лекарственных препаратов</a:t>
            </a:r>
          </a:p>
          <a:p>
            <a:pPr marL="630238" lvl="2" indent="-365125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95959"/>
                </a:solidFill>
              </a:rPr>
              <a:t>Все дистрибьюторы и логистические компании с соответствующей </a:t>
            </a:r>
            <a:r>
              <a:rPr lang="ru-RU" sz="2400" dirty="0" err="1">
                <a:solidFill>
                  <a:srgbClr val="595959"/>
                </a:solidFill>
              </a:rPr>
              <a:t>фарм</a:t>
            </a:r>
            <a:r>
              <a:rPr lang="ru-RU" sz="2400" dirty="0">
                <a:solidFill>
                  <a:srgbClr val="595959"/>
                </a:solidFill>
              </a:rPr>
              <a:t> лицензией</a:t>
            </a:r>
          </a:p>
          <a:p>
            <a:pPr marL="630238" lvl="2" indent="-365125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95959"/>
                </a:solidFill>
              </a:rPr>
              <a:t>Все аптечные организации (соотв. лицензия) – 19600 лицензиатов (около 83 000 мест)</a:t>
            </a:r>
          </a:p>
          <a:p>
            <a:pPr marL="630238" lvl="2" indent="-365125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95959"/>
                </a:solidFill>
              </a:rPr>
              <a:t>Все медицинские организации</a:t>
            </a:r>
          </a:p>
          <a:p>
            <a:pPr marL="630238" lvl="2" indent="-365125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95959"/>
                </a:solidFill>
              </a:rPr>
              <a:t>Все организации, обладающие медицинской и/или фармацевтической лицензией</a:t>
            </a:r>
          </a:p>
          <a:p>
            <a:pPr marL="1074738" lvl="2" indent="-365125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95959"/>
                </a:solidFill>
              </a:rPr>
              <a:t>Стоматологические клиники</a:t>
            </a:r>
          </a:p>
          <a:p>
            <a:pPr marL="1074738" lvl="2" indent="-365125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95959"/>
                </a:solidFill>
              </a:rPr>
              <a:t>Салоны красоты</a:t>
            </a:r>
          </a:p>
          <a:p>
            <a:pPr marL="1074738" lvl="2" indent="-365125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95959"/>
                </a:solidFill>
              </a:rPr>
              <a:t>Детские сады/школы</a:t>
            </a:r>
          </a:p>
          <a:p>
            <a:pPr marL="1074738" lvl="2" indent="-365125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595959"/>
                </a:solidFill>
              </a:rPr>
              <a:t>Некоторые фитнес-центры и т.п.</a:t>
            </a:r>
          </a:p>
          <a:p>
            <a:pPr marL="265113" lvl="2" indent="0"/>
            <a:endParaRPr lang="ru-RU" sz="24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102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Title 1"/>
          <p:cNvSpPr txBox="1">
            <a:spLocks noGrp="1"/>
          </p:cNvSpPr>
          <p:nvPr>
            <p:ph type="title"/>
          </p:nvPr>
        </p:nvSpPr>
        <p:spPr>
          <a:xfrm>
            <a:off x="615561" y="451122"/>
            <a:ext cx="10271216" cy="322717"/>
          </a:xfrm>
          <a:prstGeom prst="rect">
            <a:avLst/>
          </a:prstGeom>
        </p:spPr>
        <p:txBody>
          <a:bodyPr/>
          <a:lstStyle>
            <a:lvl1pPr defTabSz="822958">
              <a:defRPr sz="2100"/>
            </a:lvl1pPr>
          </a:lstStyle>
          <a:p>
            <a:r>
              <a:rPr lang="ru-RU" sz="2330" dirty="0"/>
              <a:t>Структура кода маркировки. Постановление №1556</a:t>
            </a:r>
            <a:endParaRPr sz="2330" dirty="0"/>
          </a:p>
        </p:txBody>
      </p:sp>
      <p:pic>
        <p:nvPicPr>
          <p:cNvPr id="766" name="Picture 45" descr="Picture 45"/>
          <p:cNvPicPr>
            <a:picLocks noChangeAspect="1"/>
          </p:cNvPicPr>
          <p:nvPr/>
        </p:nvPicPr>
        <p:blipFill>
          <a:blip r:embed="rId2">
            <a:extLst/>
          </a:blip>
          <a:srcRect t="571" r="73" b="32603"/>
          <a:stretch>
            <a:fillRect/>
          </a:stretch>
        </p:blipFill>
        <p:spPr>
          <a:xfrm>
            <a:off x="11106842" y="108898"/>
            <a:ext cx="713904" cy="9198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1" y="0"/>
                  <a:pt x="33" y="1228"/>
                  <a:pt x="0" y="2750"/>
                </a:cubicBezTo>
                <a:lnTo>
                  <a:pt x="0" y="18850"/>
                </a:lnTo>
                <a:cubicBezTo>
                  <a:pt x="33" y="20372"/>
                  <a:pt x="1621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9"/>
                  <a:pt x="21600" y="18804"/>
                </a:cubicBezTo>
                <a:lnTo>
                  <a:pt x="21600" y="2796"/>
                </a:lnTo>
                <a:cubicBezTo>
                  <a:pt x="21600" y="1251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73166CD-7BBB-44D0-8060-2B01FBB904CC}"/>
              </a:ext>
            </a:extLst>
          </p:cNvPr>
          <p:cNvSpPr/>
          <p:nvPr/>
        </p:nvSpPr>
        <p:spPr>
          <a:xfrm>
            <a:off x="487305" y="1093501"/>
            <a:ext cx="11093838" cy="48782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tabLst>
                <a:tab pos="621665" algn="l"/>
              </a:tabLst>
            </a:pPr>
            <a:r>
              <a:rPr lang="ru-RU" sz="1800" b="1" dirty="0">
                <a:solidFill>
                  <a:srgbClr val="585858"/>
                </a:solidFill>
              </a:rPr>
              <a:t>Информация </a:t>
            </a:r>
            <a:r>
              <a:rPr lang="ru-RU" sz="1800" dirty="0">
                <a:solidFill>
                  <a:srgbClr val="585858"/>
                </a:solidFill>
              </a:rPr>
              <a:t>имеет следующую структуру</a:t>
            </a:r>
            <a:r>
              <a:rPr lang="en-US" sz="1800" dirty="0">
                <a:solidFill>
                  <a:srgbClr val="585858"/>
                </a:solidFill>
              </a:rPr>
              <a:t>:</a:t>
            </a:r>
            <a:endParaRPr lang="ru-RU" sz="1800" dirty="0">
              <a:solidFill>
                <a:srgbClr val="585858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85858"/>
                </a:solidFill>
              </a:rPr>
              <a:t>Первая группа данных</a:t>
            </a:r>
            <a:r>
              <a:rPr lang="en-US" sz="1600" dirty="0">
                <a:solidFill>
                  <a:srgbClr val="585858"/>
                </a:solidFill>
              </a:rPr>
              <a:t>	– </a:t>
            </a:r>
            <a:r>
              <a:rPr lang="ru-RU" sz="1600" dirty="0">
                <a:solidFill>
                  <a:srgbClr val="585858"/>
                </a:solidFill>
              </a:rPr>
              <a:t>Глобальный идентификационный номер </a:t>
            </a:r>
            <a:r>
              <a:rPr lang="en-US" sz="1600" dirty="0">
                <a:solidFill>
                  <a:srgbClr val="585858"/>
                </a:solidFill>
              </a:rPr>
              <a:t>GTIN (01);</a:t>
            </a:r>
            <a:endParaRPr lang="ru-RU" sz="1600" dirty="0">
              <a:solidFill>
                <a:srgbClr val="585858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85858"/>
                </a:solidFill>
              </a:rPr>
              <a:t>Вторая группа данных</a:t>
            </a:r>
            <a:r>
              <a:rPr lang="en-US" sz="1600" dirty="0">
                <a:solidFill>
                  <a:srgbClr val="585858"/>
                </a:solidFill>
              </a:rPr>
              <a:t>	– </a:t>
            </a:r>
            <a:r>
              <a:rPr lang="ru-RU" sz="1600" dirty="0">
                <a:solidFill>
                  <a:srgbClr val="585858"/>
                </a:solidFill>
              </a:rPr>
              <a:t>Уникальный серийный номер </a:t>
            </a:r>
            <a:r>
              <a:rPr lang="en-US" sz="1600" dirty="0">
                <a:solidFill>
                  <a:srgbClr val="585858"/>
                </a:solidFill>
              </a:rPr>
              <a:t>S/N</a:t>
            </a:r>
            <a:r>
              <a:rPr lang="ru-RU" sz="1600" dirty="0">
                <a:solidFill>
                  <a:srgbClr val="585858"/>
                </a:solidFill>
              </a:rPr>
              <a:t> </a:t>
            </a:r>
            <a:r>
              <a:rPr lang="en-US" sz="1600" dirty="0">
                <a:solidFill>
                  <a:srgbClr val="585858"/>
                </a:solidFill>
              </a:rPr>
              <a:t>(21);</a:t>
            </a:r>
            <a:endParaRPr lang="ru-RU" sz="1600" dirty="0">
              <a:solidFill>
                <a:srgbClr val="585858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85858"/>
                </a:solidFill>
              </a:rPr>
              <a:t>Третья группа данных</a:t>
            </a:r>
            <a:r>
              <a:rPr lang="en-US" sz="1600" dirty="0">
                <a:solidFill>
                  <a:srgbClr val="585858"/>
                </a:solidFill>
              </a:rPr>
              <a:t>	</a:t>
            </a:r>
            <a:r>
              <a:rPr lang="ru-RU" sz="1600" dirty="0">
                <a:solidFill>
                  <a:srgbClr val="585858"/>
                </a:solidFill>
              </a:rPr>
              <a:t>	</a:t>
            </a:r>
            <a:r>
              <a:rPr lang="en-US" sz="1600" dirty="0">
                <a:solidFill>
                  <a:srgbClr val="585858"/>
                </a:solidFill>
              </a:rPr>
              <a:t>– </a:t>
            </a:r>
            <a:r>
              <a:rPr lang="ru-RU" sz="1600" dirty="0">
                <a:solidFill>
                  <a:srgbClr val="585858"/>
                </a:solidFill>
              </a:rPr>
              <a:t>Ключ проверки</a:t>
            </a:r>
            <a:r>
              <a:rPr lang="en-US" sz="1600" dirty="0">
                <a:solidFill>
                  <a:srgbClr val="585858"/>
                </a:solidFill>
              </a:rPr>
              <a:t> (91);</a:t>
            </a:r>
            <a:endParaRPr lang="ru-RU" sz="1600" dirty="0">
              <a:solidFill>
                <a:srgbClr val="585858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2328863" algn="l"/>
              </a:tabLst>
            </a:pPr>
            <a:r>
              <a:rPr lang="ru-RU" sz="1600" dirty="0">
                <a:solidFill>
                  <a:srgbClr val="585858"/>
                </a:solidFill>
              </a:rPr>
              <a:t>Четвертая группа данных	</a:t>
            </a:r>
            <a:r>
              <a:rPr lang="en-US" sz="1600" dirty="0">
                <a:solidFill>
                  <a:srgbClr val="585858"/>
                </a:solidFill>
              </a:rPr>
              <a:t>–</a:t>
            </a:r>
            <a:r>
              <a:rPr lang="ru-RU" sz="1600" dirty="0">
                <a:solidFill>
                  <a:srgbClr val="585858"/>
                </a:solidFill>
              </a:rPr>
              <a:t> Электронная подпись</a:t>
            </a:r>
            <a:r>
              <a:rPr lang="en-US" sz="1600" dirty="0">
                <a:solidFill>
                  <a:srgbClr val="585858"/>
                </a:solidFill>
              </a:rPr>
              <a:t> (92).</a:t>
            </a:r>
            <a:endParaRPr lang="ru-RU" sz="1600" dirty="0">
              <a:solidFill>
                <a:srgbClr val="585858"/>
              </a:solidFill>
            </a:endParaRPr>
          </a:p>
          <a:p>
            <a:pPr algn="just">
              <a:spcBef>
                <a:spcPts val="600"/>
              </a:spcBef>
            </a:pPr>
            <a:endParaRPr lang="en-US" sz="600" b="1" dirty="0">
              <a:solidFill>
                <a:srgbClr val="585858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ru-RU" sz="1800" b="1" dirty="0">
                <a:solidFill>
                  <a:srgbClr val="585858"/>
                </a:solidFill>
              </a:rPr>
              <a:t>Дополнительно </a:t>
            </a:r>
            <a:r>
              <a:rPr lang="ru-RU" sz="1800" dirty="0">
                <a:solidFill>
                  <a:srgbClr val="585858"/>
                </a:solidFill>
              </a:rPr>
              <a:t>на усмотрение эмитента</a:t>
            </a:r>
            <a:r>
              <a:rPr lang="en-US" sz="1800" dirty="0">
                <a:solidFill>
                  <a:srgbClr val="585858"/>
                </a:solidFill>
              </a:rPr>
              <a:t>:</a:t>
            </a:r>
            <a:endParaRPr lang="ru-RU" sz="1800" dirty="0">
              <a:solidFill>
                <a:srgbClr val="585858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85858"/>
                </a:solidFill>
              </a:rPr>
              <a:t>Пятая группа данных		</a:t>
            </a:r>
            <a:r>
              <a:rPr lang="en-US" sz="1600" dirty="0">
                <a:solidFill>
                  <a:srgbClr val="585858"/>
                </a:solidFill>
              </a:rPr>
              <a:t>– </a:t>
            </a:r>
            <a:r>
              <a:rPr lang="ru-RU" sz="1600" dirty="0">
                <a:solidFill>
                  <a:srgbClr val="585858"/>
                </a:solidFill>
              </a:rPr>
              <a:t>Дата истечения срока годности </a:t>
            </a:r>
            <a:r>
              <a:rPr lang="en-US" sz="1600" dirty="0">
                <a:solidFill>
                  <a:srgbClr val="585858"/>
                </a:solidFill>
              </a:rPr>
              <a:t>(17)</a:t>
            </a:r>
            <a:r>
              <a:rPr lang="ru-RU" sz="1600" dirty="0">
                <a:solidFill>
                  <a:srgbClr val="585858"/>
                </a:solidFill>
              </a:rPr>
              <a:t>;</a:t>
            </a:r>
            <a:r>
              <a:rPr lang="en-US" sz="1600" dirty="0">
                <a:solidFill>
                  <a:srgbClr val="585858"/>
                </a:solidFill>
              </a:rPr>
              <a:t> </a:t>
            </a:r>
            <a:endParaRPr lang="ru-RU" sz="1600" dirty="0">
              <a:solidFill>
                <a:srgbClr val="585858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85858"/>
                </a:solidFill>
              </a:rPr>
              <a:t>Шестая группа данных	</a:t>
            </a:r>
            <a:r>
              <a:rPr lang="en-US" sz="1600" dirty="0">
                <a:solidFill>
                  <a:srgbClr val="585858"/>
                </a:solidFill>
              </a:rPr>
              <a:t>– </a:t>
            </a:r>
            <a:r>
              <a:rPr lang="ru-RU" sz="1600" dirty="0">
                <a:solidFill>
                  <a:srgbClr val="585858"/>
                </a:solidFill>
              </a:rPr>
              <a:t>Номер серии ЛП </a:t>
            </a:r>
            <a:r>
              <a:rPr lang="en-US" sz="1600" dirty="0">
                <a:solidFill>
                  <a:srgbClr val="585858"/>
                </a:solidFill>
              </a:rPr>
              <a:t>(10)</a:t>
            </a:r>
            <a:endParaRPr lang="ru-RU" sz="1600" dirty="0">
              <a:solidFill>
                <a:srgbClr val="585858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ru-RU" sz="200" dirty="0">
              <a:solidFill>
                <a:srgbClr val="585858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ru-RU" sz="1800" b="1" dirty="0">
                <a:solidFill>
                  <a:srgbClr val="585858"/>
                </a:solidFill>
              </a:rPr>
              <a:t>В </a:t>
            </a:r>
            <a:r>
              <a:rPr lang="ru-RU" sz="1800" b="1" dirty="0" err="1">
                <a:solidFill>
                  <a:srgbClr val="585858"/>
                </a:solidFill>
              </a:rPr>
              <a:t>человекочитаемом</a:t>
            </a:r>
            <a:r>
              <a:rPr lang="ru-RU" sz="1800" b="1" dirty="0">
                <a:solidFill>
                  <a:srgbClr val="585858"/>
                </a:solidFill>
              </a:rPr>
              <a:t> </a:t>
            </a:r>
            <a:r>
              <a:rPr lang="ru-RU" sz="1800" dirty="0">
                <a:solidFill>
                  <a:srgbClr val="585858"/>
                </a:solidFill>
              </a:rPr>
              <a:t>виде на упаковке: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85858"/>
                </a:solidFill>
              </a:rPr>
              <a:t>Серийный номер (согласно ППРФ №1556)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858"/>
                </a:solidFill>
              </a:rPr>
              <a:t>GTIN </a:t>
            </a:r>
            <a:r>
              <a:rPr lang="ru-RU" sz="1600" dirty="0">
                <a:solidFill>
                  <a:srgbClr val="585858"/>
                </a:solidFill>
              </a:rPr>
              <a:t>(согласно ППРФ №1556)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85858"/>
                </a:solidFill>
              </a:rPr>
              <a:t>Номер серии (согласно 425-ФЗ)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585858"/>
                </a:solidFill>
              </a:rPr>
              <a:t>Дата истечения срока годности (согласно 425-ФЗ)</a:t>
            </a:r>
          </a:p>
          <a:p>
            <a:pPr algn="just">
              <a:spcBef>
                <a:spcPts val="600"/>
              </a:spcBef>
            </a:pPr>
            <a:endParaRPr lang="ru-RU" sz="1600" dirty="0">
              <a:solidFill>
                <a:srgbClr val="585858"/>
              </a:solidFill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609FE89-1663-407D-936F-4CAAB7D10B73}"/>
              </a:ext>
            </a:extLst>
          </p:cNvPr>
          <p:cNvGrpSpPr/>
          <p:nvPr/>
        </p:nvGrpSpPr>
        <p:grpSpPr>
          <a:xfrm>
            <a:off x="802297" y="5759549"/>
            <a:ext cx="10531589" cy="702733"/>
            <a:chOff x="802295" y="5418587"/>
            <a:chExt cx="10531589" cy="702733"/>
          </a:xfrm>
        </p:grpSpPr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EFBAE7CE-2009-4E94-98EB-E3E738A22607}"/>
                </a:ext>
              </a:extLst>
            </p:cNvPr>
            <p:cNvSpPr/>
            <p:nvPr/>
          </p:nvSpPr>
          <p:spPr>
            <a:xfrm>
              <a:off x="4335403" y="5418587"/>
              <a:ext cx="1698819" cy="70273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rnd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800" b="1" dirty="0">
                  <a:solidFill>
                    <a:schemeClr val="bg1">
                      <a:lumMod val="50000"/>
                    </a:schemeClr>
                  </a:solidFill>
                </a:rPr>
                <a:t>Серия</a:t>
              </a:r>
              <a:r>
                <a:rPr lang="en-US" sz="1800" b="1" dirty="0">
                  <a:solidFill>
                    <a:schemeClr val="bg1">
                      <a:lumMod val="50000"/>
                    </a:schemeClr>
                  </a:solidFill>
                </a:rPr>
                <a:t>(10)</a:t>
              </a:r>
              <a:endParaRPr lang="ru-RU" sz="18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41918920-AA05-4AFE-8FFF-A8F39829CAD6}"/>
                </a:ext>
              </a:extLst>
            </p:cNvPr>
            <p:cNvSpPr/>
            <p:nvPr/>
          </p:nvSpPr>
          <p:spPr>
            <a:xfrm>
              <a:off x="6101957" y="5418587"/>
              <a:ext cx="1698819" cy="70273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rnd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800" b="1" dirty="0">
                  <a:solidFill>
                    <a:schemeClr val="bg1">
                      <a:lumMod val="50000"/>
                    </a:schemeClr>
                  </a:solidFill>
                </a:rPr>
                <a:t>Срок годности </a:t>
              </a:r>
              <a:r>
                <a:rPr lang="en-US" sz="1800" b="1" dirty="0">
                  <a:solidFill>
                    <a:schemeClr val="bg1">
                      <a:lumMod val="50000"/>
                    </a:schemeClr>
                  </a:solidFill>
                </a:rPr>
                <a:t>(17)</a:t>
              </a:r>
              <a:endParaRPr lang="ru-RU" sz="18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02AFCA2E-BCB9-47A8-BA50-67386A6B742D}"/>
                </a:ext>
              </a:extLst>
            </p:cNvPr>
            <p:cNvSpPr/>
            <p:nvPr/>
          </p:nvSpPr>
          <p:spPr>
            <a:xfrm>
              <a:off x="7868511" y="5418587"/>
              <a:ext cx="1698819" cy="70273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 cap="rnd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800" b="1" dirty="0">
                  <a:solidFill>
                    <a:schemeClr val="tx2"/>
                  </a:solidFill>
                </a:rPr>
                <a:t>Ключ </a:t>
              </a:r>
              <a:r>
                <a:rPr lang="en-US" sz="1800" b="1" dirty="0">
                  <a:solidFill>
                    <a:schemeClr val="tx2"/>
                  </a:solidFill>
                </a:rPr>
                <a:t>(91)</a:t>
              </a:r>
              <a:endParaRPr lang="ru-RU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71CAB682-038B-4423-933A-92C11E8B8320}"/>
                </a:ext>
              </a:extLst>
            </p:cNvPr>
            <p:cNvSpPr/>
            <p:nvPr/>
          </p:nvSpPr>
          <p:spPr>
            <a:xfrm>
              <a:off x="9635065" y="5418587"/>
              <a:ext cx="1698819" cy="70273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 cap="rnd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800" b="1" dirty="0">
                  <a:solidFill>
                    <a:schemeClr val="tx2"/>
                  </a:solidFill>
                </a:rPr>
                <a:t>Подпись</a:t>
              </a:r>
              <a:r>
                <a:rPr lang="en-US" sz="1800" b="1" dirty="0">
                  <a:solidFill>
                    <a:schemeClr val="tx2"/>
                  </a:solidFill>
                </a:rPr>
                <a:t> (92)</a:t>
              </a:r>
              <a:endParaRPr lang="ru-RU" sz="1800" b="1" dirty="0">
                <a:solidFill>
                  <a:schemeClr val="tx2"/>
                </a:solidFill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ABDAF545-1CBE-468C-800D-98D099A4582F}"/>
                </a:ext>
              </a:extLst>
            </p:cNvPr>
            <p:cNvSpPr/>
            <p:nvPr/>
          </p:nvSpPr>
          <p:spPr>
            <a:xfrm>
              <a:off x="2568849" y="5418587"/>
              <a:ext cx="1698819" cy="702733"/>
            </a:xfrm>
            <a:prstGeom prst="rect">
              <a:avLst/>
            </a:prstGeom>
            <a:solidFill>
              <a:srgbClr val="92D050"/>
            </a:solidFill>
            <a:ln w="9525" cap="rnd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800" b="1" dirty="0">
                  <a:solidFill>
                    <a:srgbClr val="FFFFFF"/>
                  </a:solidFill>
                </a:rPr>
                <a:t>S/N (21)</a:t>
              </a:r>
              <a:endParaRPr lang="ru-RU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7E558965-C87F-4129-98CD-F4D463B48114}"/>
                </a:ext>
              </a:extLst>
            </p:cNvPr>
            <p:cNvSpPr/>
            <p:nvPr/>
          </p:nvSpPr>
          <p:spPr>
            <a:xfrm>
              <a:off x="802295" y="5418587"/>
              <a:ext cx="1698819" cy="702733"/>
            </a:xfrm>
            <a:prstGeom prst="rect">
              <a:avLst/>
            </a:prstGeom>
            <a:solidFill>
              <a:srgbClr val="92D050"/>
            </a:solidFill>
            <a:ln w="9525" cap="rnd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800" b="1" dirty="0">
                  <a:solidFill>
                    <a:srgbClr val="FFFFFF"/>
                  </a:solidFill>
                </a:rPr>
                <a:t>GTIN (01)</a:t>
              </a:r>
              <a:endParaRPr lang="ru-RU" sz="1800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337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1" y="10283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8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1" y="10283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731"/>
            <a:ext cx="155112" cy="155112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291" y="248572"/>
            <a:ext cx="9921834" cy="649537"/>
          </a:xfrm>
        </p:spPr>
        <p:txBody>
          <a:bodyPr/>
          <a:lstStyle/>
          <a:p>
            <a:r>
              <a:rPr lang="ru-RU" dirty="0"/>
              <a:t>Регистрация действий с ЛП в системе</a:t>
            </a:r>
            <a:br>
              <a:rPr lang="ru-RU" dirty="0"/>
            </a:br>
            <a:r>
              <a:rPr lang="ru-RU" dirty="0"/>
              <a:t>2 способа: с устройствами и без («Описание бизнес-процессов»)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106435" y="108898"/>
            <a:ext cx="714447" cy="91997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13" name="Схема 12">
            <a:extLst>
              <a:ext uri="{FF2B5EF4-FFF2-40B4-BE49-F238E27FC236}">
                <a16:creationId xmlns:a16="http://schemas.microsoft.com/office/drawing/2014/main" id="{FEB88420-5731-46FF-BAF6-F4C7B81C9A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9021932"/>
              </p:ext>
            </p:extLst>
          </p:nvPr>
        </p:nvGraphicFramePr>
        <p:xfrm>
          <a:off x="430507" y="1353323"/>
          <a:ext cx="11051587" cy="5051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922739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Title 1"/>
          <p:cNvSpPr txBox="1">
            <a:spLocks noGrp="1"/>
          </p:cNvSpPr>
          <p:nvPr>
            <p:ph type="title"/>
          </p:nvPr>
        </p:nvSpPr>
        <p:spPr>
          <a:xfrm>
            <a:off x="615561" y="451122"/>
            <a:ext cx="10271216" cy="322717"/>
          </a:xfrm>
          <a:prstGeom prst="rect">
            <a:avLst/>
          </a:prstGeom>
        </p:spPr>
        <p:txBody>
          <a:bodyPr/>
          <a:lstStyle>
            <a:lvl1pPr defTabSz="822958">
              <a:defRPr sz="2100"/>
            </a:lvl1pPr>
          </a:lstStyle>
          <a:p>
            <a:r>
              <a:rPr lang="ru-RU" sz="2330" dirty="0"/>
              <a:t>Внешний вид регистратора выбытия</a:t>
            </a:r>
            <a:endParaRPr sz="2330" dirty="0"/>
          </a:p>
        </p:txBody>
      </p:sp>
      <p:pic>
        <p:nvPicPr>
          <p:cNvPr id="766" name="Picture 45" descr="Picture 45"/>
          <p:cNvPicPr>
            <a:picLocks noChangeAspect="1"/>
          </p:cNvPicPr>
          <p:nvPr/>
        </p:nvPicPr>
        <p:blipFill>
          <a:blip r:embed="rId2">
            <a:extLst/>
          </a:blip>
          <a:srcRect t="571" r="73" b="32603"/>
          <a:stretch>
            <a:fillRect/>
          </a:stretch>
        </p:blipFill>
        <p:spPr>
          <a:xfrm>
            <a:off x="11106842" y="108898"/>
            <a:ext cx="713904" cy="9198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590" y="0"/>
                </a:moveTo>
                <a:cubicBezTo>
                  <a:pt x="1621" y="0"/>
                  <a:pt x="33" y="1228"/>
                  <a:pt x="0" y="2750"/>
                </a:cubicBezTo>
                <a:lnTo>
                  <a:pt x="0" y="18850"/>
                </a:lnTo>
                <a:cubicBezTo>
                  <a:pt x="33" y="20372"/>
                  <a:pt x="1621" y="21600"/>
                  <a:pt x="3590" y="21600"/>
                </a:cubicBezTo>
                <a:lnTo>
                  <a:pt x="17998" y="21600"/>
                </a:lnTo>
                <a:cubicBezTo>
                  <a:pt x="19988" y="21600"/>
                  <a:pt x="21600" y="20349"/>
                  <a:pt x="21600" y="18804"/>
                </a:cubicBezTo>
                <a:lnTo>
                  <a:pt x="21600" y="2796"/>
                </a:lnTo>
                <a:cubicBezTo>
                  <a:pt x="21600" y="1251"/>
                  <a:pt x="19988" y="0"/>
                  <a:pt x="17998" y="0"/>
                </a:cubicBezTo>
                <a:lnTo>
                  <a:pt x="3590" y="0"/>
                </a:lnTo>
                <a:close/>
              </a:path>
            </a:pathLst>
          </a:custGeom>
          <a:ln w="12700">
            <a:miter lim="400000"/>
          </a:ln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B0F5F4D-7939-43BD-B73D-032DE196248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1362697"/>
            <a:ext cx="6969649" cy="3992905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94A43D1-7CB8-4BAC-8289-4886B44F5D0C}"/>
              </a:ext>
            </a:extLst>
          </p:cNvPr>
          <p:cNvSpPr/>
          <p:nvPr/>
        </p:nvSpPr>
        <p:spPr>
          <a:xfrm>
            <a:off x="4151870" y="4127906"/>
            <a:ext cx="7311924" cy="1758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ъемы РВ позволяют:</a:t>
            </a:r>
          </a:p>
          <a:p>
            <a:pPr marL="342900" lvl="0" indent="-342900" algn="just">
              <a:lnSpc>
                <a:spcPct val="107000"/>
              </a:lnSpc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ключить РВ к персональному компьютеру.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2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ключить РВ к локальной вычислительной сети организации и сети интернет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DB5956-2517-4BDD-9C69-875DA4BEE358}"/>
              </a:ext>
            </a:extLst>
          </p:cNvPr>
          <p:cNvSpPr txBox="1"/>
          <p:nvPr/>
        </p:nvSpPr>
        <p:spPr>
          <a:xfrm>
            <a:off x="5751169" y="1617571"/>
            <a:ext cx="5824152" cy="224069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595959"/>
                </a:solidFill>
              </a:rPr>
              <a:t>Встроенный ска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595959"/>
                </a:solidFill>
              </a:rPr>
              <a:t>Экран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595959"/>
                </a:solidFill>
              </a:rPr>
              <a:t>Клавиатура Т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595959"/>
                </a:solidFill>
              </a:rPr>
              <a:t>WiFi</a:t>
            </a:r>
            <a:endParaRPr lang="en-US" sz="2000" dirty="0">
              <a:solidFill>
                <a:srgbClr val="595959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595959"/>
                </a:solidFill>
              </a:rPr>
              <a:t>Возможность подключения </a:t>
            </a:r>
            <a:r>
              <a:rPr lang="en-US" sz="2000" dirty="0">
                <a:solidFill>
                  <a:srgbClr val="595959"/>
                </a:solidFill>
              </a:rPr>
              <a:t>GSM</a:t>
            </a:r>
            <a:r>
              <a:rPr lang="ru-RU" sz="2000" dirty="0">
                <a:solidFill>
                  <a:srgbClr val="595959"/>
                </a:solidFill>
              </a:rPr>
              <a:t>-модем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595959"/>
                </a:solidFill>
              </a:rPr>
              <a:t>Модуль безопасности (СКЗИ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595959"/>
                </a:solidFill>
              </a:rPr>
              <a:t>Аккумулятор</a:t>
            </a:r>
          </a:p>
        </p:txBody>
      </p:sp>
    </p:spTree>
    <p:extLst>
      <p:ext uri="{BB962C8B-B14F-4D97-AF65-F5344CB8AC3E}">
        <p14:creationId xmlns:p14="http://schemas.microsoft.com/office/powerpoint/2010/main" val="216561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 xmlns:m="http://schemas.openxmlformats.org/officeDocument/2006/math" xmlns:a14="http://schemas.microsoft.com/office/drawing/2010/main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ABC22FF6-FF23-4DB4-854B-E53498179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1" y="10283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0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id="{ABC22FF6-FF23-4DB4-854B-E53498179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1" y="10283"/>
                        <a:ext cx="1552" cy="1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CE4E148-5FD9-4CF4-8565-CD415F3177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731"/>
            <a:ext cx="155112" cy="155112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5" b="1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291" y="410949"/>
            <a:ext cx="9921834" cy="324782"/>
          </a:xfrm>
        </p:spPr>
        <p:txBody>
          <a:bodyPr/>
          <a:lstStyle/>
          <a:p>
            <a:r>
              <a:rPr lang="ru-RU" dirty="0"/>
              <a:t>Регулирование вывода из оборота с использованием ККТ и РВ</a:t>
            </a:r>
            <a:endParaRPr lang="en-US" dirty="0"/>
          </a:p>
        </p:txBody>
      </p:sp>
      <p:pic>
        <p:nvPicPr>
          <p:cNvPr id="4" name="Picture 3"/>
          <p:cNvPicPr preferRelativeResize="0"/>
          <p:nvPr/>
        </p:nvPicPr>
        <p:blipFill rotWithShape="1">
          <a:blip r:embed="rId7">
            <a:alphaModFix/>
          </a:blip>
          <a:srcRect l="-57" t="571" r="55" b="32592"/>
          <a:stretch/>
        </p:blipFill>
        <p:spPr>
          <a:xfrm>
            <a:off x="11106435" y="108898"/>
            <a:ext cx="714447" cy="919979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13" name="Схема 12">
            <a:extLst>
              <a:ext uri="{FF2B5EF4-FFF2-40B4-BE49-F238E27FC236}">
                <a16:creationId xmlns:a16="http://schemas.microsoft.com/office/drawing/2014/main" id="{FEB88420-5731-46FF-BAF6-F4C7B81C9A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22752258"/>
              </p:ext>
            </p:extLst>
          </p:nvPr>
        </p:nvGraphicFramePr>
        <p:xfrm>
          <a:off x="430507" y="1353323"/>
          <a:ext cx="11051587" cy="5051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122102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THINKCELLPRESENTATIONDONOTDELETE" val="&lt;?xml version=&quot;1.0&quot; encoding=&quot;UTF-16&quot; standalone=&quot;yes&quot;?&gt;&lt;root reqver=&quot;24162&quot;&gt;&lt;version val=&quot;2704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9c0IraTmGbdPn9Blxat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s9hoITT6iwm3UkyffPR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.L0_kkSLyUSO7icl2IZ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LR37SZQqCEaOONvvZoz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5aeYCXQ_uhlT1acsU.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7fWOPRYG8Se0oXw9TQ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lnFgrlSlW8MSWoioc.X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HaQKopQzGbVvWSOe2f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VU7xhGRbWW9dgafDapu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ci1B7VQK.OjbJ5U7J5I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VuKkjzTIuqrb5NvQEUH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g7m8bbQ0KEVzaXe8zQ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OApuFMQAinP3S9VVo9G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5mWBtCRWWXYgXpEbSZ.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navYyXT_yHm4b5kaSos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AAVG6JRdquZ1uP6y3Kp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ZasGx6SR2gxHoss8gFW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ukGXILS8KYKmq3IjSHv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mH5TYLSUeKP88OYh_oX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6DN8ZYQQmuyo4iKA3nM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J4RPfySra90BgHQL7is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K3jklUQsmj6iuBX5jZ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j3T4YORc6GSjU5Jn.9X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l0NCC_TMibGmdpvzSrc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9E0j.zQ0uNYqn.pobff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F0V2V0SqCkSRppLtNlB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2A09DpRraZ.JXzPVqm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fVnYI_SwGU1LMsBwDNt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p8JnWQRy64OFjLtmBLG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3FzpZrRBOV2OC2edYmJ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wxjDHNTnS2_w6qufrTP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q6k1tDRW2s9WBAl2g1L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hIyAzaTyerkypu127jK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ZiNZoLT2GvxdrU_v.dj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ViNZoyTJ6mgus2f2z_Q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Rnd4IDTGO0U_LnMisyr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QNVix2QE6tSIkcoRFak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fg47yhSEK3Ltf653Xl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VJFEurTS.D1B3HmO.34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rqy18iTtas9nFOrtJMk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.ua7xPRMOmOsFtRTiM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Z4OfmTQO.De0rdh2nIg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_G_74_TvauBfs3jXkx9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WxTCMmRwKRd22FTUPgJ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BN9PGkRHav8CysiDj0P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3ujLtEQdO7mgu50RbE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cJV2FMQVmhISHQL_BXs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ddEwYT0ediN9QOdfWZ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r.XSf9TCWppaXO2qHD8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kw8xmcRW.Uexo.nO0Iu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yW3_5cSN6ydLV_aw_q_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QwqEIGRUa6YBl9G2n9e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bTf1CJQY6BubzeQDn1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i10sipR0.LjVzObMhcu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YlNXHVTn.ZQZ_PS2bpx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U3tBk.RYOnM0LsVfiGT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VLnm5RGW2Ua8N61ZcT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Wsi29lTfmL1Y6vQgSFJ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.K6JKBQh27f19rjutVA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lckluoSH6sQ2tIDnwab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SkV7ozTRq8kz.SD0TU9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OqQIbQJyL.5HhfNEOQ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wDks5lQCmpUlNG3BY8B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nVHi0jQBiOPJ9Ielfu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cl2ajBTnqoJZD17fRhh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cwhH6GSoa6uiH6d1zYY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ZlsWj1QfabQtEhOsm37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jFmks5QFenN6K6BqHZQ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V13V0dRhWcdE30Ho_K5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h3IEJvS_yzIToWWwoGs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lQ5BTST5G7TdDsEeDSj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IqJ37eRcmjyiIozADdh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s_n76RKmCRPiVnx.zz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GClI6TZCk9i_iAHi8P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wc43BwRiGBhc_3rKhJF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lSa16ZR.63.uOdR7Q0V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niyYW2Q3G5AS9f0kYZq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ocdAaqQP.L8in5aOjtB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CjGwdBS0GPM9evXtIgA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WdHHWNS82dPBTTN4bi0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EMBPFFRGmXxwVIguS2y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v1GmIkQJ.9UpKY.C1zR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bBcbg3QXWfrAvZrHWUI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unxfD1Q7igubXRmFid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SJw.InRRWAVfMhR0iV3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L3AWrORjqO7sJbPbSnt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3rAhY0Q3i8cXxaZq.xN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HhsUm0S9qGGaLVgkcbz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7J3lK.QoyPAOHRJ3mwr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iTHyWpSI6oCm47cNPN8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4rhaSfQy2wNJm3_hUe_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HhQ3P0Qim76DDeMJpQB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pCVkKHRHCz.nyE3yKzL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lo3ohlQTiLFkMvnSi7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427YvTJ2VGcGvrDagP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YP5_8eSna7jsc7la6wJ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QA0UNoQBaK8sO3qD6GO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4mPlDeR7uZdJVMH73xx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W.QCfMRvixrGTYhTlB4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sBAqacTbqsm4FuoI1W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PaBxRTTqahDiQ2F1WpG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CRChKnSGKwanzg6ztf8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FT2.ytQx6kFARZxob_T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RiMn3RR42Th.tjt75Fv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yZL4qMQfeWBmqtQ1_.T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FBD9K8SlOtRxo2fAfJ8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XjYHCzQ_eFgFnfzl9Rp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00yiM9Rzqk4LHNXkKPo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Pidzg2SXCY6Qoq9lHNh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2Z3rd3QaSg_9dJ1M8Rc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OUqHmRTSaspPqvixzz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c5hU1bSAyO5rNHp515V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YCPA.hR2u0uE33yt7hv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fRQmDJQ6y8tfy8RAEHJ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qcTOejRnqIjrNGSfHAR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9jr9edQNyB0Hy_91dAT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AgojGpQByw9T1fq4h6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1B9WG6TKuq6WY57aJib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v8FkEnRc.PzTFdS315i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kzlLhTTnmsPiy6ywUX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s.jvmIRzOy19Sp2dQgD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o057kqTymqh3Hd056uq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dsQSECRvaR0nslCMIe0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iwNCRNSvGLbekhlHfBO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4G8kTFTMSC64mXce2e1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vTzvb3S3SCjSg30ipZf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n_rakQQvGoJkEQLCyU9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l5fe_zSsirBiKAAwbJc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tJVfswQEC_JyhXWcGAR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ElGQmoSDmUD9HYoiNmU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twHQ6FSAaV2x5u7sngE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Hnit19RD2d0akL4tM5I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sd_lVMT06lcFO4k6ocd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EF3OsTQ4OjNeB8X0JN6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xABsZsTDO8EYCq_zp9L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_YbAeHR.alyy9jW7L_O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N2i52zRqej81hoXe8Oq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XPh_9HTXOr0eRZNcSWO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RbWUu1Tqa9pISbFCsnc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8yqnWXRHqgK52TWR1.H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wBDHFySz.WHyrBDcrX0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OxRRDLSGKNBaaBgdlzG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vH_rHoQZiY_LPUakPpQ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fAmwUFQQG0m2dszC7EN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_9r0vuRWqugeaUksls2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8rRKybTWm5_X620rllL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.rCVoQKW_yHWwlaifr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_Dbq_SQo6F__dD63x05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kgTTaNTDe7MyveKWhtn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D._WzXQoKWd4L8TvDrn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J9eZiRMiXPsqwiE2lC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HtighTUe5V6EwufAca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iHzEhJToCqjcrDktg0U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X73U_QUy_9Adkyjsa0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8AghK.QWCbQVo5bod3Q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qrccdsTdqu_AX4eAek4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22aq2ETASO8NrgDWlx5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RijaVGSWCxNOWcudDeT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Yi.JySQ52tqH3ExFInk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b6PKW3RYqhFEhwdUhd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LaElu4Theg4dNc14.UX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xHw022RtqjhUT7o1eQr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Y1xF6tRPi0Q8uF3xiqd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cmmg68TNykc8fuEFhQy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SXARMeRVertobYo5iuf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TM4j6DQBG4F7gddfFj9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u111CwSGiPmPwSidjzB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xfyRg7Q_m5QySyu1uRn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opbYIZSJ.wt1gTci_FP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kMp5iATvCchiQxFitxR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V6FLITw.HU5hxsuSjT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ISVyd1SRSGpGlrV0epx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FeHKOSSXGFuyzDF.7oA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dY0iZIRvyYttQnV7c6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T_98HnTguxQa8tQeHX4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Kz7x5yRhCgjqB1rX.71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P7Vhv0Tz60C3MEAnswR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E_AMb2S6mphcpP1iO4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25sHUqRKyLJMEHyGVyr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hy8oL3Q0uJ2OlXJn0A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6JH8ZRGS_m7kqJNJkh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eiY.2RK.ZcodIFqgB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92rP6NR9e9xrC6LgcWx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2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3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4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5_BCG Grid 16:9">
  <a:themeElements>
    <a:clrScheme name="2_BCG Grid 16:9">
      <a:dk1>
        <a:srgbClr val="595959"/>
      </a:dk1>
      <a:lt1>
        <a:srgbClr val="F2F2F2"/>
      </a:lt1>
      <a:dk2>
        <a:srgbClr val="A7A7A7"/>
      </a:dk2>
      <a:lt2>
        <a:srgbClr val="535353"/>
      </a:lt2>
      <a:accent1>
        <a:srgbClr val="FFAB40"/>
      </a:accent1>
      <a:accent2>
        <a:srgbClr val="212121"/>
      </a:accent2>
      <a:accent3>
        <a:srgbClr val="78909C"/>
      </a:accent3>
      <a:accent4>
        <a:srgbClr val="8F6024"/>
      </a:accent4>
      <a:accent5>
        <a:srgbClr val="0097A7"/>
      </a:accent5>
      <a:accent6>
        <a:srgbClr val="EEFF41"/>
      </a:accent6>
      <a:hlink>
        <a:srgbClr val="0000FF"/>
      </a:hlink>
      <a:folHlink>
        <a:srgbClr val="FF00FF"/>
      </a:folHlink>
    </a:clrScheme>
    <a:fontScheme name="2_BCG Grid 16:9">
      <a:majorFont>
        <a:latin typeface="Helvetica"/>
        <a:ea typeface="Helvetica"/>
        <a:cs typeface="Helvetica"/>
      </a:majorFont>
      <a:minorFont>
        <a:latin typeface="PT Sans Caption"/>
        <a:ea typeface="PT Sans Caption"/>
        <a:cs typeface="PT Sans Caption"/>
      </a:minorFont>
    </a:fontScheme>
    <a:fmtScheme name="2_BCG Grid 16:9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079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2">
                <a:lumOff val="21764"/>
              </a:schemeClr>
            </a:solidFill>
            <a:effectLst/>
            <a:uFillTx/>
            <a:latin typeface="+mn-lt"/>
            <a:ea typeface="+mn-ea"/>
            <a:cs typeface="+mn-cs"/>
            <a:sym typeface="PT Sans Captio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0795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chemeClr val="accent2">
                <a:lumOff val="21764"/>
              </a:schemeClr>
            </a:solidFill>
            <a:effectLst/>
            <a:uFillTx/>
            <a:latin typeface="+mn-lt"/>
            <a:ea typeface="+mn-ea"/>
            <a:cs typeface="+mn-cs"/>
            <a:sym typeface="PT Sans Captio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6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Титулы">
  <a:themeElements>
    <a:clrScheme name="Титулы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Титулы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Титул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119356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PT Sans Caption"/>
            <a:ea typeface="PT Sans Caption"/>
            <a:cs typeface="PT Sans Caption"/>
            <a:sym typeface="PT Sans Captio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1193566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PT Sans Caption"/>
            <a:ea typeface="PT Sans Caption"/>
            <a:cs typeface="PT Sans Caption"/>
            <a:sym typeface="PT Sans Caption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022</TotalTime>
  <Words>1401</Words>
  <Application>Microsoft Office PowerPoint</Application>
  <PresentationFormat>Произвольный</PresentationFormat>
  <Paragraphs>176</Paragraphs>
  <Slides>16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8" baseType="lpstr">
      <vt:lpstr>Arial</vt:lpstr>
      <vt:lpstr>Calibri</vt:lpstr>
      <vt:lpstr>PT Mono</vt:lpstr>
      <vt:lpstr>PT Sans Caption</vt:lpstr>
      <vt:lpstr>Times New Roman</vt:lpstr>
      <vt:lpstr>Trebuchet MS</vt:lpstr>
      <vt:lpstr>2_BCG Grid 16:9</vt:lpstr>
      <vt:lpstr>3_BCG Grid 16:9</vt:lpstr>
      <vt:lpstr>4_BCG Grid 16:9</vt:lpstr>
      <vt:lpstr>5_BCG Grid 16:9</vt:lpstr>
      <vt:lpstr>6_BCG Grid 16:9</vt:lpstr>
      <vt:lpstr>think-cell Slide</vt:lpstr>
      <vt:lpstr>Эксперимент по маркировке лекарственных препаратов Текущий статус и промежуточные итоги  Антон Харитонов. Руководитель направления «ФАРМА» Анатолий Свечин. Менеджер проекта  19.04.2019</vt:lpstr>
      <vt:lpstr>Нормативная база в РФ</vt:lpstr>
      <vt:lpstr>Дорожная карта внедрения обязательной маркировки ЛП</vt:lpstr>
      <vt:lpstr>Система в цифрах</vt:lpstr>
      <vt:lpstr>Кто должен регистрироваться в системе</vt:lpstr>
      <vt:lpstr>Структура кода маркировки. Постановление №1556</vt:lpstr>
      <vt:lpstr>Регистрация действий с ЛП в системе 2 способа: с устройствами и без («Описание бизнес-процессов»)</vt:lpstr>
      <vt:lpstr>Внешний вид регистратора выбытия</vt:lpstr>
      <vt:lpstr>Регулирование вывода из оборота с использованием ККТ и РВ</vt:lpstr>
      <vt:lpstr>Где и как? Выбытие по типам участников оборота - упрощенно</vt:lpstr>
      <vt:lpstr>Схема информационного обмена с МДЛП через ККТ и РВ </vt:lpstr>
      <vt:lpstr>Изменения в порядке записи чеков</vt:lpstr>
      <vt:lpstr>Встраивание РВ в процессы медорганизаций</vt:lpstr>
      <vt:lpstr>Регистрация в ИС МДЛП – нельзя откладывать</vt:lpstr>
      <vt:lpstr>Дополнительная информация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идоркова Александра</dc:creator>
  <cp:lastModifiedBy>Свечин Анатолий</cp:lastModifiedBy>
  <cp:revision>141</cp:revision>
  <cp:lastPrinted>2018-08-29T13:25:40Z</cp:lastPrinted>
  <dcterms:modified xsi:type="dcterms:W3CDTF">2019-04-18T14:54:06Z</dcterms:modified>
</cp:coreProperties>
</file>